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20"/>
  </p:notesMasterIdLst>
  <p:handoutMasterIdLst>
    <p:handoutMasterId r:id="rId21"/>
  </p:handoutMasterIdLst>
  <p:sldIdLst>
    <p:sldId id="333" r:id="rId2"/>
    <p:sldId id="789" r:id="rId3"/>
    <p:sldId id="763" r:id="rId4"/>
    <p:sldId id="786" r:id="rId5"/>
    <p:sldId id="256" r:id="rId6"/>
    <p:sldId id="269" r:id="rId7"/>
    <p:sldId id="796" r:id="rId8"/>
    <p:sldId id="788" r:id="rId9"/>
    <p:sldId id="790" r:id="rId10"/>
    <p:sldId id="791" r:id="rId11"/>
    <p:sldId id="787" r:id="rId12"/>
    <p:sldId id="792" r:id="rId13"/>
    <p:sldId id="793" r:id="rId14"/>
    <p:sldId id="794" r:id="rId15"/>
    <p:sldId id="795" r:id="rId16"/>
    <p:sldId id="272" r:id="rId17"/>
    <p:sldId id="770" r:id="rId18"/>
    <p:sldId id="575" r:id="rId19"/>
  </p:sldIdLst>
  <p:sldSz cx="12192000" cy="6858000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clrMode="bw" frameSlides="1"/>
  <p:clrMru>
    <a:srgbClr val="6E0000"/>
    <a:srgbClr val="AF0000"/>
    <a:srgbClr val="000000"/>
    <a:srgbClr val="FF9900"/>
    <a:srgbClr val="FFFFFF"/>
    <a:srgbClr val="00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74" autoAdjust="0"/>
    <p:restoredTop sz="93427" autoAdjust="0"/>
  </p:normalViewPr>
  <p:slideViewPr>
    <p:cSldViewPr>
      <p:cViewPr varScale="1">
        <p:scale>
          <a:sx n="103" d="100"/>
          <a:sy n="103" d="100"/>
        </p:scale>
        <p:origin x="736" y="1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9" d="100"/>
          <a:sy n="59" d="100"/>
        </p:scale>
        <p:origin x="-2508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7FDD15C-C3E1-AE46-9FEE-110277EE2F41}" type="datetimeFigureOut">
              <a:rPr lang="ru-RU"/>
              <a:pPr>
                <a:defRPr/>
              </a:pPr>
              <a:t>03.1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44A0A3B-88E9-D247-A63C-3C467C914D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6967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C181998-D694-424F-8268-2EA73FFAAB4C}" type="datetimeFigureOut">
              <a:rPr lang="ru-RU"/>
              <a:pPr>
                <a:defRPr/>
              </a:pPr>
              <a:t>03.1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imes New Roman" pitchFamily="18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374D2BD-DCF8-D341-BD02-5FF2665344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58281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ＭＳ Ｐゴシック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74D2BD-DCF8-D341-BD02-5FF26653441D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1651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74D2BD-DCF8-D341-BD02-5FF26653441D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89510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74D2BD-DCF8-D341-BD02-5FF26653441D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50706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74D2BD-DCF8-D341-BD02-5FF26653441D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3939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74D2BD-DCF8-D341-BD02-5FF26653441D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8945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804B2E-4E11-6846-955B-140F89FA77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14717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4B8E3D-8D18-8E44-86E0-5CB9837DEC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49911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ADF07D-803D-CE43-ACEA-AF2990F992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78229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Nanolek SIMPLE_Body_Head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69A3C6-D3BA-4CF9-978E-1B53873903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03304"/>
              </p:ext>
            </p:extLst>
          </p:nvPr>
        </p:nvGraphicFramePr>
        <p:xfrm>
          <a:off x="1059" y="1059"/>
          <a:ext cx="1058" cy="10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69A3C6-D3BA-4CF9-978E-1B538739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8" cy="10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6191C42-D63C-4359-AB9B-C6D07C3409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05833" cy="1058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Рисунок 2" descr="Nanolek_Presentation_logo_small.png"/>
          <p:cNvPicPr>
            <a:picLocks noChangeAspect="1"/>
          </p:cNvPicPr>
          <p:nvPr/>
        </p:nvPicPr>
        <p:blipFill rotWithShape="1">
          <a:blip r:embed="rId7"/>
          <a:srcRect r="61801"/>
          <a:stretch/>
        </p:blipFill>
        <p:spPr>
          <a:xfrm>
            <a:off x="365139" y="235444"/>
            <a:ext cx="719079" cy="67259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4E2458-C125-41E8-A68F-446E073B5F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314649" y="6407936"/>
            <a:ext cx="2743200" cy="365068"/>
          </a:xfrm>
          <a:prstGeom prst="rect">
            <a:avLst/>
          </a:prstGeom>
        </p:spPr>
        <p:txBody>
          <a:bodyPr/>
          <a:lstStyle/>
          <a:p>
            <a:fld id="{A3D02436-4518-47BB-900D-2464C3159F8A}" type="slidenum">
              <a:rPr lang="ru-RU" smtClean="0"/>
              <a:t>‹#›</a:t>
            </a:fld>
            <a:endParaRPr lang="ru-R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6414CBE-6331-4441-A064-A4C466758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0344" y="222693"/>
            <a:ext cx="10674010" cy="510349"/>
          </a:xfrm>
          <a:prstGeom prst="rect">
            <a:avLst/>
          </a:prstGeom>
        </p:spPr>
        <p:txBody>
          <a:bodyPr anchor="b"/>
          <a:lstStyle>
            <a:lvl1pPr>
              <a:defRPr sz="1600" b="1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6216F25-FE4C-41CC-BEA0-2E85246761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10345" y="733042"/>
            <a:ext cx="10660946" cy="34688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b="0" i="0" baseline="0">
                <a:solidFill>
                  <a:srgbClr val="66B4DB"/>
                </a:solidFill>
              </a:defRPr>
            </a:lvl1pPr>
          </a:lstStyle>
          <a:p>
            <a:pPr lvl="0"/>
            <a:r>
              <a:rPr lang="en-US" dirty="0"/>
              <a:t>Subheads are 24pt Arial Italic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46189020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70DF5C-2DA8-A642-A022-5CA42BE3258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91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E3D50D-899C-F342-A4C1-77865C365F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68119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E6C273-DC11-3648-BA43-EEEC1A14B8F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34301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873EDA-65DF-634F-81C5-6B882CED5E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43459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26CB51-915E-9B47-98E3-4EC2BC2D7B1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19391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3C294A-DD2D-4B45-8BF6-41E37F2380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3377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6D41E8-D100-9A47-830F-4C4E17813DD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0003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C6EB49-6188-1E46-B5DC-7B5ED2D9E3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3783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imes New Roman" pitchFamily="18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Times New Roman" pitchFamily="18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7023A46B-7B67-0D4B-823C-D7E6525546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charset="0"/>
          <a:cs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7408" y="332657"/>
            <a:ext cx="10873208" cy="3744415"/>
          </a:xfrm>
        </p:spPr>
        <p:txBody>
          <a:bodyPr/>
          <a:lstStyle/>
          <a:p>
            <a:pPr eaLnBrk="1" hangingPunct="1"/>
            <a:br>
              <a:rPr lang="en-US" sz="3200" dirty="0">
                <a:latin typeface="Calibri" charset="0"/>
              </a:rPr>
            </a:br>
            <a:br>
              <a:rPr lang="en-US" sz="3200" dirty="0">
                <a:latin typeface="Calibri" charset="0"/>
              </a:rPr>
            </a:br>
            <a:r>
              <a:rPr lang="ru-RU" sz="3600" b="1" dirty="0">
                <a:solidFill>
                  <a:srgbClr val="800000"/>
                </a:solidFill>
                <a:latin typeface="Calibri" charset="0"/>
              </a:rPr>
              <a:t>Применение эфферентных методов </a:t>
            </a:r>
            <a:r>
              <a:rPr lang="ru-RU" sz="3600" b="1" dirty="0" err="1">
                <a:solidFill>
                  <a:srgbClr val="800000"/>
                </a:solidFill>
                <a:latin typeface="Calibri" charset="0"/>
              </a:rPr>
              <a:t>детоксикации</a:t>
            </a:r>
            <a:r>
              <a:rPr lang="ru-RU" sz="3600" b="1" dirty="0">
                <a:solidFill>
                  <a:srgbClr val="800000"/>
                </a:solidFill>
                <a:latin typeface="Calibri" charset="0"/>
              </a:rPr>
              <a:t> при сепсисе на фоне </a:t>
            </a:r>
            <a:r>
              <a:rPr lang="ru-RU" sz="3600" b="1" dirty="0" err="1">
                <a:solidFill>
                  <a:srgbClr val="800000"/>
                </a:solidFill>
                <a:latin typeface="Calibri" charset="0"/>
              </a:rPr>
              <a:t>коронавирсусной</a:t>
            </a:r>
            <a:r>
              <a:rPr lang="ru-RU" sz="3600" b="1" dirty="0">
                <a:solidFill>
                  <a:srgbClr val="800000"/>
                </a:solidFill>
                <a:latin typeface="Calibri" charset="0"/>
              </a:rPr>
              <a:t> инфекции </a:t>
            </a:r>
            <a:r>
              <a:rPr lang="en-US" sz="3600" b="1" dirty="0">
                <a:solidFill>
                  <a:srgbClr val="800000"/>
                </a:solidFill>
                <a:latin typeface="Calibri" charset="0"/>
              </a:rPr>
              <a:t>COVID-19</a:t>
            </a:r>
            <a:br>
              <a:rPr lang="en-US" sz="3600" b="1" dirty="0">
                <a:solidFill>
                  <a:srgbClr val="800000"/>
                </a:solidFill>
                <a:latin typeface="Calibri" charset="0"/>
              </a:rPr>
            </a:br>
            <a:endParaRPr lang="ru-RU" dirty="0">
              <a:solidFill>
                <a:srgbClr val="FF0000"/>
              </a:solidFill>
              <a:latin typeface="Calibri" charset="0"/>
            </a:endParaRPr>
          </a:p>
        </p:txBody>
      </p:sp>
      <p:sp>
        <p:nvSpPr>
          <p:cNvPr id="1536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03512" y="4005064"/>
            <a:ext cx="8784976" cy="1872209"/>
          </a:xfrm>
        </p:spPr>
        <p:txBody>
          <a:bodyPr/>
          <a:lstStyle/>
          <a:p>
            <a:pPr eaLnBrk="1" hangingPunct="1"/>
            <a:r>
              <a:rPr lang="ru-RU" sz="2800" dirty="0">
                <a:solidFill>
                  <a:srgbClr val="898989"/>
                </a:solidFill>
                <a:latin typeface="Calibri" charset="0"/>
              </a:rPr>
              <a:t>Грицан Алексей Иванович, </a:t>
            </a:r>
            <a:r>
              <a:rPr lang="ru-RU" sz="2800" dirty="0" err="1">
                <a:solidFill>
                  <a:srgbClr val="898989"/>
                </a:solidFill>
                <a:latin typeface="Calibri" charset="0"/>
              </a:rPr>
              <a:t>Ишутин</a:t>
            </a:r>
            <a:r>
              <a:rPr lang="ru-RU" sz="2800" dirty="0">
                <a:solidFill>
                  <a:srgbClr val="898989"/>
                </a:solidFill>
                <a:latin typeface="Calibri" charset="0"/>
              </a:rPr>
              <a:t> Виктор Вячеславович, Джабраилов Денис </a:t>
            </a:r>
            <a:r>
              <a:rPr lang="ru-RU" sz="2800" dirty="0" err="1">
                <a:solidFill>
                  <a:srgbClr val="898989"/>
                </a:solidFill>
                <a:latin typeface="Calibri" charset="0"/>
              </a:rPr>
              <a:t>Умарович</a:t>
            </a:r>
            <a:r>
              <a:rPr lang="en-US" sz="2800" dirty="0">
                <a:solidFill>
                  <a:srgbClr val="898989"/>
                </a:solidFill>
                <a:latin typeface="Calibri" charset="0"/>
              </a:rPr>
              <a:t> </a:t>
            </a:r>
            <a:r>
              <a:rPr lang="ru-RU" sz="2800" dirty="0">
                <a:solidFill>
                  <a:srgbClr val="898989"/>
                </a:solidFill>
                <a:latin typeface="Calibri" charset="0"/>
              </a:rPr>
              <a:t>(Красноярск, РФ</a:t>
            </a:r>
            <a:r>
              <a:rPr lang="en-US" sz="2800" dirty="0">
                <a:solidFill>
                  <a:srgbClr val="898989"/>
                </a:solidFill>
                <a:latin typeface="Calibri" charset="0"/>
              </a:rPr>
              <a:t>)</a:t>
            </a:r>
            <a:endParaRPr lang="ru-RU" sz="2800" dirty="0">
              <a:solidFill>
                <a:srgbClr val="898989"/>
              </a:solidFill>
              <a:latin typeface="Calibri" charset="0"/>
            </a:endParaRPr>
          </a:p>
          <a:p>
            <a:pPr eaLnBrk="1" hangingPunct="1"/>
            <a:r>
              <a:rPr lang="en-US" sz="2800" dirty="0">
                <a:solidFill>
                  <a:srgbClr val="898989"/>
                </a:solidFill>
                <a:latin typeface="Calibri" charset="0"/>
              </a:rPr>
              <a:t>10 </a:t>
            </a:r>
            <a:r>
              <a:rPr lang="ru-RU" sz="2800">
                <a:solidFill>
                  <a:srgbClr val="898989"/>
                </a:solidFill>
                <a:latin typeface="Calibri" charset="0"/>
              </a:rPr>
              <a:t>октября  </a:t>
            </a:r>
            <a:r>
              <a:rPr lang="en-US" sz="2800" dirty="0">
                <a:solidFill>
                  <a:srgbClr val="898989"/>
                </a:solidFill>
                <a:latin typeface="Calibri" charset="0"/>
              </a:rPr>
              <a:t>(16.45-17.00) </a:t>
            </a:r>
            <a:r>
              <a:rPr lang="ru-RU" sz="2800" dirty="0">
                <a:solidFill>
                  <a:srgbClr val="898989"/>
                </a:solidFill>
                <a:latin typeface="Calibri" charset="0"/>
              </a:rPr>
              <a:t>2021 года, г. Красноярск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73FE1A-D81F-784D-90A9-A5DB61A8B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6672"/>
            <a:ext cx="10972800" cy="690304"/>
          </a:xfrm>
        </p:spPr>
        <p:txBody>
          <a:bodyPr/>
          <a:lstStyle/>
          <a:p>
            <a:r>
              <a:rPr lang="ru-RU" b="1" dirty="0">
                <a:solidFill>
                  <a:srgbClr val="6E0000"/>
                </a:solidFill>
              </a:rPr>
              <a:t>Тяжесть пациентов </a:t>
            </a:r>
            <a:r>
              <a:rPr lang="en-US" b="1" dirty="0">
                <a:solidFill>
                  <a:srgbClr val="6E0000"/>
                </a:solidFill>
              </a:rPr>
              <a:t>SOFA</a:t>
            </a:r>
            <a:r>
              <a:rPr lang="ru-RU" b="1" dirty="0">
                <a:solidFill>
                  <a:srgbClr val="6E0000"/>
                </a:solidFill>
              </a:rPr>
              <a:t>, </a:t>
            </a:r>
            <a:r>
              <a:rPr lang="en-US" b="1" dirty="0">
                <a:solidFill>
                  <a:srgbClr val="6E0000"/>
                </a:solidFill>
              </a:rPr>
              <a:t>Me, Q1;Q3</a:t>
            </a:r>
            <a:endParaRPr lang="ru-RU" b="1" dirty="0">
              <a:solidFill>
                <a:srgbClr val="6E0000"/>
              </a:solidFill>
            </a:endParaRPr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97DA2F09-4339-EF4B-87CD-ED4CAB38D0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07160971"/>
              </p:ext>
            </p:extLst>
          </p:nvPr>
        </p:nvGraphicFramePr>
        <p:xfrm>
          <a:off x="335360" y="1484784"/>
          <a:ext cx="11521280" cy="4206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81334">
                  <a:extLst>
                    <a:ext uri="{9D8B030D-6E8A-4147-A177-3AD203B41FA5}">
                      <a16:colId xmlns:a16="http://schemas.microsoft.com/office/drawing/2014/main" val="1852094281"/>
                    </a:ext>
                  </a:extLst>
                </a:gridCol>
                <a:gridCol w="1480898">
                  <a:extLst>
                    <a:ext uri="{9D8B030D-6E8A-4147-A177-3AD203B41FA5}">
                      <a16:colId xmlns:a16="http://schemas.microsoft.com/office/drawing/2014/main" val="2883608538"/>
                    </a:ext>
                  </a:extLst>
                </a:gridCol>
                <a:gridCol w="1489762">
                  <a:extLst>
                    <a:ext uri="{9D8B030D-6E8A-4147-A177-3AD203B41FA5}">
                      <a16:colId xmlns:a16="http://schemas.microsoft.com/office/drawing/2014/main" val="1383993921"/>
                    </a:ext>
                  </a:extLst>
                </a:gridCol>
                <a:gridCol w="1489762">
                  <a:extLst>
                    <a:ext uri="{9D8B030D-6E8A-4147-A177-3AD203B41FA5}">
                      <a16:colId xmlns:a16="http://schemas.microsoft.com/office/drawing/2014/main" val="3985130518"/>
                    </a:ext>
                  </a:extLst>
                </a:gridCol>
                <a:gridCol w="1489762">
                  <a:extLst>
                    <a:ext uri="{9D8B030D-6E8A-4147-A177-3AD203B41FA5}">
                      <a16:colId xmlns:a16="http://schemas.microsoft.com/office/drawing/2014/main" val="1265208093"/>
                    </a:ext>
                  </a:extLst>
                </a:gridCol>
                <a:gridCol w="1489762">
                  <a:extLst>
                    <a:ext uri="{9D8B030D-6E8A-4147-A177-3AD203B41FA5}">
                      <a16:colId xmlns:a16="http://schemas.microsoft.com/office/drawing/2014/main" val="3052789953"/>
                    </a:ext>
                  </a:extLst>
                </a:gridCol>
              </a:tblGrid>
              <a:tr h="409000">
                <a:tc row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Параметры</a:t>
                      </a:r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/>
                        <a:t>Этапы исследования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5276549"/>
                  </a:ext>
                </a:extLst>
              </a:tr>
              <a:tr h="409000">
                <a:tc vMerge="1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Парамет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/>
                        <a:t>Перед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/>
                        <a:t> 1 </a:t>
                      </a:r>
                      <a:r>
                        <a:rPr lang="ru-RU" sz="2400" dirty="0" err="1"/>
                        <a:t>сут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/>
                        <a:t>3 </a:t>
                      </a:r>
                      <a:r>
                        <a:rPr lang="ru-RU" sz="2400" dirty="0" err="1"/>
                        <a:t>сут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/>
                        <a:t>7 </a:t>
                      </a:r>
                      <a:r>
                        <a:rPr lang="ru-RU" sz="2400" dirty="0" err="1"/>
                        <a:t>сут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4 </a:t>
                      </a:r>
                      <a:r>
                        <a:rPr lang="ru-RU" sz="2400" dirty="0" err="1"/>
                        <a:t>сут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8293822"/>
                  </a:ext>
                </a:extLst>
              </a:tr>
              <a:tr h="3078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CVVDH(n=95)</a:t>
                      </a:r>
                      <a:endParaRPr lang="ru-RU" sz="2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4;10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5;12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5;12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6;14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4;6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27877462"/>
                  </a:ext>
                </a:extLst>
              </a:tr>
              <a:tr h="409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err="1"/>
                        <a:t>CVVDH+Cytosorb</a:t>
                      </a:r>
                      <a:r>
                        <a:rPr lang="en-US" sz="2400" dirty="0"/>
                        <a:t>(n=36)</a:t>
                      </a:r>
                      <a:endParaRPr lang="ru-RU" sz="2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[2;5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[2;5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[2;5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[3;6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[3;4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49779040"/>
                  </a:ext>
                </a:extLst>
              </a:tr>
              <a:tr h="409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CVVDH +Emic2(n=30)</a:t>
                      </a:r>
                      <a:endParaRPr lang="ru-RU" sz="2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6;10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7;11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7;12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9;13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en-US" sz="2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[1;1]</a:t>
                      </a:r>
                      <a:endParaRPr lang="ru-RU" sz="24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13849260"/>
                  </a:ext>
                </a:extLst>
              </a:tr>
              <a:tr h="409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/>
                        <a:t>Эфферон</a:t>
                      </a:r>
                      <a:r>
                        <a:rPr lang="en-US" sz="2400" dirty="0"/>
                        <a:t> </a:t>
                      </a:r>
                      <a:r>
                        <a:rPr lang="ru-RU" sz="2400" dirty="0"/>
                        <a:t>ЛПС </a:t>
                      </a:r>
                      <a:r>
                        <a:rPr lang="en-US" sz="2400" dirty="0"/>
                        <a:t>(n=12)</a:t>
                      </a:r>
                      <a:endParaRPr lang="ru-RU" sz="2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3;7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3;7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4;8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5;11]                                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3;4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89729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4893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552F098-9908-F54D-B263-5EF7A2462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16632"/>
            <a:ext cx="10972800" cy="978621"/>
          </a:xfrm>
        </p:spPr>
        <p:txBody>
          <a:bodyPr/>
          <a:lstStyle/>
          <a:p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Лабораторные показатели перед началом процедуры  эфферентной </a:t>
            </a:r>
            <a:r>
              <a:rPr lang="ru-RU" sz="3200" dirty="0" err="1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детоксикации</a:t>
            </a:r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перед первой процедурой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3200" dirty="0"/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CD81595B-8A2A-C743-B7E2-E77E8D5F9BA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8590301"/>
              </p:ext>
            </p:extLst>
          </p:nvPr>
        </p:nvGraphicFramePr>
        <p:xfrm>
          <a:off x="425370" y="1116419"/>
          <a:ext cx="11341260" cy="5029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2448">
                  <a:extLst>
                    <a:ext uri="{9D8B030D-6E8A-4147-A177-3AD203B41FA5}">
                      <a16:colId xmlns:a16="http://schemas.microsoft.com/office/drawing/2014/main" val="2928726685"/>
                    </a:ext>
                  </a:extLst>
                </a:gridCol>
                <a:gridCol w="2168182">
                  <a:extLst>
                    <a:ext uri="{9D8B030D-6E8A-4147-A177-3AD203B41FA5}">
                      <a16:colId xmlns:a16="http://schemas.microsoft.com/office/drawing/2014/main" val="2330478800"/>
                    </a:ext>
                  </a:extLst>
                </a:gridCol>
                <a:gridCol w="2001400">
                  <a:extLst>
                    <a:ext uri="{9D8B030D-6E8A-4147-A177-3AD203B41FA5}">
                      <a16:colId xmlns:a16="http://schemas.microsoft.com/office/drawing/2014/main" val="2006756689"/>
                    </a:ext>
                  </a:extLst>
                </a:gridCol>
                <a:gridCol w="1671008">
                  <a:extLst>
                    <a:ext uri="{9D8B030D-6E8A-4147-A177-3AD203B41FA5}">
                      <a16:colId xmlns:a16="http://schemas.microsoft.com/office/drawing/2014/main" val="3314304249"/>
                    </a:ext>
                  </a:extLst>
                </a:gridCol>
                <a:gridCol w="1998222">
                  <a:extLst>
                    <a:ext uri="{9D8B030D-6E8A-4147-A177-3AD203B41FA5}">
                      <a16:colId xmlns:a16="http://schemas.microsoft.com/office/drawing/2014/main" val="1014072345"/>
                    </a:ext>
                  </a:extLst>
                </a:gridCol>
              </a:tblGrid>
              <a:tr h="945136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n-lt"/>
                        </a:rPr>
                        <a:t>Парамет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</a:rPr>
                        <a:t>CVVDH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</a:rPr>
                        <a:t>CVVDH</a:t>
                      </a:r>
                      <a:endParaRPr lang="ru-RU" sz="2000" dirty="0">
                        <a:latin typeface="+mn-lt"/>
                      </a:endParaRPr>
                    </a:p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 +Cytosorb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</a:rPr>
                        <a:t>CVVDH +Emic</a:t>
                      </a:r>
                      <a:r>
                        <a:rPr lang="ru-RU" sz="2000" dirty="0">
                          <a:latin typeface="+mn-lt"/>
                        </a:rPr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n-lt"/>
                        </a:rPr>
                        <a:t>Эфферон ЛПС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811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СРБ, мг/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12[[54;21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81[29;15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17[71;13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17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2  [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95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;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232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06872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Креатинин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мкмоль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50[88;3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83[74;9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26[86;18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8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1 [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6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8;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8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0105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Д-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димер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076[248;187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544[201;79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482[328;66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51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6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[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42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7;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699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15637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  <a:cs typeface="Times New Roman" panose="02020603050405020304" pitchFamily="18" charset="0"/>
                        </a:rPr>
                        <a:t>ПК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[1;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[0;1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[1;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0[0.6;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6206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ромбоциты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ыс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м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22[154;27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00[150;27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65[230;290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220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 [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17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4;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24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57849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Лейкоциты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ыс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мл</a:t>
                      </a:r>
                    </a:p>
                    <a:p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3[11;1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8[7;1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3[7;2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0[8;1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91853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Палочкоядерные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, %</a:t>
                      </a:r>
                    </a:p>
                    <a:p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[7;1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8[5;1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7,5[6;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11 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[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8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;</a:t>
                      </a: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1</a:t>
                      </a: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2147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2000" dirty="0" err="1">
                          <a:latin typeface="+mn-lt"/>
                          <a:cs typeface="Times New Roman" panose="02020603050405020304" pitchFamily="18" charset="0"/>
                        </a:rPr>
                        <a:t>Лактат</a:t>
                      </a:r>
                      <a:r>
                        <a:rPr lang="ru-RU" sz="200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,5[2;4,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,8[1,7;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,4[1,4;3,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4,3[2,4;5,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07918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00828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552F098-9908-F54D-B263-5EF7A2462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922" y="-72365"/>
            <a:ext cx="11249465" cy="1143000"/>
          </a:xfrm>
        </p:spPr>
        <p:txBody>
          <a:bodyPr/>
          <a:lstStyle/>
          <a:p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Лабораторные показатели эфферентной </a:t>
            </a:r>
            <a:r>
              <a:rPr lang="ru-RU" sz="3200" dirty="0" err="1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детоксикации</a:t>
            </a:r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1 сутки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3200" dirty="0"/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CD81595B-8A2A-C743-B7E2-E77E8D5F9BA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7446132"/>
              </p:ext>
            </p:extLst>
          </p:nvPr>
        </p:nvGraphicFramePr>
        <p:xfrm>
          <a:off x="425370" y="908720"/>
          <a:ext cx="11341260" cy="5029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2448">
                  <a:extLst>
                    <a:ext uri="{9D8B030D-6E8A-4147-A177-3AD203B41FA5}">
                      <a16:colId xmlns:a16="http://schemas.microsoft.com/office/drawing/2014/main" val="2928726685"/>
                    </a:ext>
                  </a:extLst>
                </a:gridCol>
                <a:gridCol w="2168182">
                  <a:extLst>
                    <a:ext uri="{9D8B030D-6E8A-4147-A177-3AD203B41FA5}">
                      <a16:colId xmlns:a16="http://schemas.microsoft.com/office/drawing/2014/main" val="2330478800"/>
                    </a:ext>
                  </a:extLst>
                </a:gridCol>
                <a:gridCol w="2001400">
                  <a:extLst>
                    <a:ext uri="{9D8B030D-6E8A-4147-A177-3AD203B41FA5}">
                      <a16:colId xmlns:a16="http://schemas.microsoft.com/office/drawing/2014/main" val="2006756689"/>
                    </a:ext>
                  </a:extLst>
                </a:gridCol>
                <a:gridCol w="1671008">
                  <a:extLst>
                    <a:ext uri="{9D8B030D-6E8A-4147-A177-3AD203B41FA5}">
                      <a16:colId xmlns:a16="http://schemas.microsoft.com/office/drawing/2014/main" val="3314304249"/>
                    </a:ext>
                  </a:extLst>
                </a:gridCol>
                <a:gridCol w="1998222">
                  <a:extLst>
                    <a:ext uri="{9D8B030D-6E8A-4147-A177-3AD203B41FA5}">
                      <a16:colId xmlns:a16="http://schemas.microsoft.com/office/drawing/2014/main" val="1014072345"/>
                    </a:ext>
                  </a:extLst>
                </a:gridCol>
              </a:tblGrid>
              <a:tr h="945136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Парамет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</a:t>
                      </a:r>
                      <a:endParaRPr lang="ru-RU" sz="2000" dirty="0"/>
                    </a:p>
                    <a:p>
                      <a:pPr algn="ctr"/>
                      <a:r>
                        <a:rPr lang="en-US" sz="2000" dirty="0"/>
                        <a:t> +</a:t>
                      </a:r>
                      <a:r>
                        <a:rPr lang="en-US" sz="2000" dirty="0" err="1"/>
                        <a:t>Cytosor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 +Emic</a:t>
                      </a:r>
                      <a:r>
                        <a:rPr lang="ru-RU" sz="2000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Эфферон ЛПС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811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СРБ, мг/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1[44;17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6[24;12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4[58;11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39[77;18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06872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Креатинин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мкмоль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18[64;29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78[68;9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50[102;22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6[80;9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0105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Д-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димер</a:t>
                      </a:r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, 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280[295;222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47[239;94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573[391;78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13[507;83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15637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  <a:cs typeface="Times New Roman" panose="02020603050405020304" pitchFamily="18" charset="0"/>
                        </a:rPr>
                        <a:t>ПК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4[1;1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7[4;2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[2;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[1;1.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6206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ромбоциты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ыс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м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80[124;21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62[122;22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15[187;23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78[141;20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57849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Лейкоциты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ыс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мл</a:t>
                      </a:r>
                    </a:p>
                    <a:p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5[12;2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8[7;1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4[8;2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1[8,5;15,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91853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Палочкоядерные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, %</a:t>
                      </a:r>
                    </a:p>
                    <a:p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[8;1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[4;1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[7;1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3[2;1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2147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2000" dirty="0" err="1">
                          <a:latin typeface="+mn-lt"/>
                          <a:cs typeface="Times New Roman" panose="02020603050405020304" pitchFamily="18" charset="0"/>
                        </a:rPr>
                        <a:t>Лактат</a:t>
                      </a:r>
                      <a:r>
                        <a:rPr lang="ru-RU" sz="200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,8[2,3;5,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3,2[1,9;4,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,7[1,5;3,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4,9[2,7;6,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07918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73229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552F098-9908-F54D-B263-5EF7A2462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44" y="116632"/>
            <a:ext cx="11575286" cy="1143000"/>
          </a:xfrm>
        </p:spPr>
        <p:txBody>
          <a:bodyPr/>
          <a:lstStyle/>
          <a:p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Лабораторные показатели эфферентной </a:t>
            </a:r>
            <a:r>
              <a:rPr lang="ru-RU" sz="3200" dirty="0" err="1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детоксикации</a:t>
            </a:r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3 сутки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3200" dirty="0"/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CD81595B-8A2A-C743-B7E2-E77E8D5F9BA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58358469"/>
              </p:ext>
            </p:extLst>
          </p:nvPr>
        </p:nvGraphicFramePr>
        <p:xfrm>
          <a:off x="425370" y="1024943"/>
          <a:ext cx="11341260" cy="5029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2448">
                  <a:extLst>
                    <a:ext uri="{9D8B030D-6E8A-4147-A177-3AD203B41FA5}">
                      <a16:colId xmlns:a16="http://schemas.microsoft.com/office/drawing/2014/main" val="2928726685"/>
                    </a:ext>
                  </a:extLst>
                </a:gridCol>
                <a:gridCol w="2168182">
                  <a:extLst>
                    <a:ext uri="{9D8B030D-6E8A-4147-A177-3AD203B41FA5}">
                      <a16:colId xmlns:a16="http://schemas.microsoft.com/office/drawing/2014/main" val="2330478800"/>
                    </a:ext>
                  </a:extLst>
                </a:gridCol>
                <a:gridCol w="2001400">
                  <a:extLst>
                    <a:ext uri="{9D8B030D-6E8A-4147-A177-3AD203B41FA5}">
                      <a16:colId xmlns:a16="http://schemas.microsoft.com/office/drawing/2014/main" val="2006756689"/>
                    </a:ext>
                  </a:extLst>
                </a:gridCol>
                <a:gridCol w="1599000">
                  <a:extLst>
                    <a:ext uri="{9D8B030D-6E8A-4147-A177-3AD203B41FA5}">
                      <a16:colId xmlns:a16="http://schemas.microsoft.com/office/drawing/2014/main" val="3314304249"/>
                    </a:ext>
                  </a:extLst>
                </a:gridCol>
                <a:gridCol w="2070230">
                  <a:extLst>
                    <a:ext uri="{9D8B030D-6E8A-4147-A177-3AD203B41FA5}">
                      <a16:colId xmlns:a16="http://schemas.microsoft.com/office/drawing/2014/main" val="1014072345"/>
                    </a:ext>
                  </a:extLst>
                </a:gridCol>
              </a:tblGrid>
              <a:tr h="945136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Парамет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</a:t>
                      </a:r>
                      <a:endParaRPr lang="ru-RU" sz="2000" dirty="0"/>
                    </a:p>
                    <a:p>
                      <a:pPr algn="ctr"/>
                      <a:r>
                        <a:rPr lang="en-US" sz="2000" dirty="0"/>
                        <a:t> +Cytosorb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 +Emic</a:t>
                      </a:r>
                      <a:r>
                        <a:rPr lang="ru-RU" sz="2000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Эфферон ЛПС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811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СРБ, мг/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00[49;18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73[26;14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04[64;12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54[85;20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06872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Креатинин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мкмоль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73[102;37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5[85;11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45[99;21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5[80;9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0105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Д-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димер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242[286;215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28[232;92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556[379;76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595[492;80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15637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  <a:cs typeface="Times New Roman" panose="02020603050405020304" pitchFamily="18" charset="0"/>
                        </a:rPr>
                        <a:t>ПК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3[1;1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0[3;1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[2;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[1;1.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6206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ромбоциты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ыс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м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99[137;24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79[134;24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37[206;26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97[155;22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57849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Лейкоциты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ыс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мл</a:t>
                      </a:r>
                    </a:p>
                    <a:p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6[13;2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[8,5;13,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7[6,2;8,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2,5[9,5;1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91853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Палочкоядерные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, %</a:t>
                      </a:r>
                    </a:p>
                    <a:p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[8;1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[4;1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[7;1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[3;1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2147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2000" dirty="0" err="1">
                          <a:latin typeface="+mn-lt"/>
                          <a:cs typeface="Times New Roman" panose="02020603050405020304" pitchFamily="18" charset="0"/>
                        </a:rPr>
                        <a:t>Лактат</a:t>
                      </a:r>
                      <a:r>
                        <a:rPr lang="ru-RU" sz="200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3,1[2,5;5,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3,5[2,1;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3[1,7;3,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5,4[3;7,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07918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60941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552F098-9908-F54D-B263-5EF7A2462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344" y="371832"/>
            <a:ext cx="11759516" cy="720080"/>
          </a:xfrm>
        </p:spPr>
        <p:txBody>
          <a:bodyPr/>
          <a:lstStyle/>
          <a:p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Лабораторные показатели эфферентной </a:t>
            </a:r>
            <a:r>
              <a:rPr lang="ru-RU" sz="3200" dirty="0" err="1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детоксикации</a:t>
            </a:r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7 сутки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3200" dirty="0"/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CD81595B-8A2A-C743-B7E2-E77E8D5F9BA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86952167"/>
              </p:ext>
            </p:extLst>
          </p:nvPr>
        </p:nvGraphicFramePr>
        <p:xfrm>
          <a:off x="400472" y="1340768"/>
          <a:ext cx="11341260" cy="478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2448">
                  <a:extLst>
                    <a:ext uri="{9D8B030D-6E8A-4147-A177-3AD203B41FA5}">
                      <a16:colId xmlns:a16="http://schemas.microsoft.com/office/drawing/2014/main" val="2928726685"/>
                    </a:ext>
                  </a:extLst>
                </a:gridCol>
                <a:gridCol w="2168182">
                  <a:extLst>
                    <a:ext uri="{9D8B030D-6E8A-4147-A177-3AD203B41FA5}">
                      <a16:colId xmlns:a16="http://schemas.microsoft.com/office/drawing/2014/main" val="2330478800"/>
                    </a:ext>
                  </a:extLst>
                </a:gridCol>
                <a:gridCol w="2001400">
                  <a:extLst>
                    <a:ext uri="{9D8B030D-6E8A-4147-A177-3AD203B41FA5}">
                      <a16:colId xmlns:a16="http://schemas.microsoft.com/office/drawing/2014/main" val="2006756689"/>
                    </a:ext>
                  </a:extLst>
                </a:gridCol>
                <a:gridCol w="1623898">
                  <a:extLst>
                    <a:ext uri="{9D8B030D-6E8A-4147-A177-3AD203B41FA5}">
                      <a16:colId xmlns:a16="http://schemas.microsoft.com/office/drawing/2014/main" val="3314304249"/>
                    </a:ext>
                  </a:extLst>
                </a:gridCol>
                <a:gridCol w="2045332">
                  <a:extLst>
                    <a:ext uri="{9D8B030D-6E8A-4147-A177-3AD203B41FA5}">
                      <a16:colId xmlns:a16="http://schemas.microsoft.com/office/drawing/2014/main" val="1014072345"/>
                    </a:ext>
                  </a:extLst>
                </a:gridCol>
              </a:tblGrid>
              <a:tr h="441080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Парамет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</a:t>
                      </a:r>
                      <a:endParaRPr lang="ru-RU" sz="2000" dirty="0"/>
                    </a:p>
                    <a:p>
                      <a:pPr algn="ctr"/>
                      <a:r>
                        <a:rPr lang="en-US" sz="2000" dirty="0"/>
                        <a:t> +Cytosorb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 +Emic</a:t>
                      </a:r>
                      <a:r>
                        <a:rPr lang="ru-RU" sz="2000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Эфферон ЛПС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811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СРБ, мг/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33[65;25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7[35;18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38[85;16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04[113;27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06872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Креатинин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мкмоль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82[107;39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01[90;11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53[105;22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8[82;10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0105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Д-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димер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312[302;228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63[245;97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587[400;80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28[520;85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15637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  <a:cs typeface="Times New Roman" panose="02020603050405020304" pitchFamily="18" charset="0"/>
                        </a:rPr>
                        <a:t>ПК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4[1;1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0[3;2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[2;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[1;1,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6206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ромбоциты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ыс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м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60[180;21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34[175;32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310[269;34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57[203;28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57849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Лейкоциты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ыс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мл</a:t>
                      </a:r>
                    </a:p>
                    <a:p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7[14;25,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,8[9;1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6,5[8,7;2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3[10;1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91853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Палочкоядерные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, %</a:t>
                      </a:r>
                    </a:p>
                    <a:p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[8;1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7[4;1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9[7;1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[3;1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2147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2000" dirty="0" err="1">
                          <a:latin typeface="+mn-lt"/>
                          <a:cs typeface="Times New Roman" panose="02020603050405020304" pitchFamily="18" charset="0"/>
                        </a:rPr>
                        <a:t>Лактат</a:t>
                      </a:r>
                      <a:r>
                        <a:rPr lang="ru-RU" sz="200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3,3[2,6;5,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3,7[2,2;5,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3,1[1,8;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5,7[3,1;7,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07918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21717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552F098-9908-F54D-B263-5EF7A24627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370" y="116632"/>
            <a:ext cx="11525490" cy="978621"/>
          </a:xfrm>
        </p:spPr>
        <p:txBody>
          <a:bodyPr/>
          <a:lstStyle/>
          <a:p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Лабораторные показатели эфферентной </a:t>
            </a:r>
            <a:r>
              <a:rPr lang="ru-RU" sz="3200" dirty="0" err="1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детоксикации</a:t>
            </a:r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3200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14 сутки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3200" dirty="0"/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CD81595B-8A2A-C743-B7E2-E77E8D5F9BA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77424930"/>
              </p:ext>
            </p:extLst>
          </p:nvPr>
        </p:nvGraphicFramePr>
        <p:xfrm>
          <a:off x="407368" y="1041352"/>
          <a:ext cx="11359262" cy="5029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2448">
                  <a:extLst>
                    <a:ext uri="{9D8B030D-6E8A-4147-A177-3AD203B41FA5}">
                      <a16:colId xmlns:a16="http://schemas.microsoft.com/office/drawing/2014/main" val="2928726685"/>
                    </a:ext>
                  </a:extLst>
                </a:gridCol>
                <a:gridCol w="2168182">
                  <a:extLst>
                    <a:ext uri="{9D8B030D-6E8A-4147-A177-3AD203B41FA5}">
                      <a16:colId xmlns:a16="http://schemas.microsoft.com/office/drawing/2014/main" val="2330478800"/>
                    </a:ext>
                  </a:extLst>
                </a:gridCol>
                <a:gridCol w="2001400">
                  <a:extLst>
                    <a:ext uri="{9D8B030D-6E8A-4147-A177-3AD203B41FA5}">
                      <a16:colId xmlns:a16="http://schemas.microsoft.com/office/drawing/2014/main" val="2006756689"/>
                    </a:ext>
                  </a:extLst>
                </a:gridCol>
                <a:gridCol w="1617002">
                  <a:extLst>
                    <a:ext uri="{9D8B030D-6E8A-4147-A177-3AD203B41FA5}">
                      <a16:colId xmlns:a16="http://schemas.microsoft.com/office/drawing/2014/main" val="3314304249"/>
                    </a:ext>
                  </a:extLst>
                </a:gridCol>
                <a:gridCol w="2070230">
                  <a:extLst>
                    <a:ext uri="{9D8B030D-6E8A-4147-A177-3AD203B41FA5}">
                      <a16:colId xmlns:a16="http://schemas.microsoft.com/office/drawing/2014/main" val="1014072345"/>
                    </a:ext>
                  </a:extLst>
                </a:gridCol>
              </a:tblGrid>
              <a:tr h="945136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Парамет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</a:t>
                      </a:r>
                      <a:endParaRPr lang="ru-RU" sz="2000" dirty="0"/>
                    </a:p>
                    <a:p>
                      <a:pPr algn="ctr"/>
                      <a:r>
                        <a:rPr lang="en-US" sz="2000" dirty="0"/>
                        <a:t> +</a:t>
                      </a:r>
                      <a:r>
                        <a:rPr lang="en-US" sz="2000" dirty="0" err="1"/>
                        <a:t>Cytosor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/>
                        <a:t>CVVDH +Emic</a:t>
                      </a:r>
                      <a:r>
                        <a:rPr lang="ru-RU" sz="2000" dirty="0"/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/>
                        <a:t>Эфферон ЛПС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18115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СРБ, мг/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29[108;24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44[87;19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11[211;21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71[51;90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06872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Креатинин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мкмоль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83[70;95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75[69;82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9[69;6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78[73;7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01054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Д-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димер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572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528[403;77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-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522[412;633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15637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  <a:cs typeface="Times New Roman" panose="02020603050405020304" pitchFamily="18" charset="0"/>
                        </a:rPr>
                        <a:t>ПК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8[2;1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8[3;1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-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-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96206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ромбоциты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ыс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мл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31[107;154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54[95;25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79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61[141;18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57849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Лейкоциты, </a:t>
                      </a: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тыс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/мл</a:t>
                      </a:r>
                    </a:p>
                    <a:p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0[9,8;10,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6,4[5,9;8,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7,8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0,6[8,5;12,7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91853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0" u="none" strike="noStrike" dirty="0" err="1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Палочкоядерные</a:t>
                      </a:r>
                      <a:r>
                        <a:rPr lang="ru-RU" sz="2000" b="0" i="0" u="none" strike="noStrike" dirty="0">
                          <a:solidFill>
                            <a:srgbClr val="000000"/>
                          </a:solidFill>
                          <a:latin typeface="+mn-lt"/>
                          <a:cs typeface="Times New Roman" pitchFamily="18" charset="0"/>
                        </a:rPr>
                        <a:t>, %</a:t>
                      </a:r>
                    </a:p>
                    <a:p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3[8;1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5[4;6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18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4[3;8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12147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2000" dirty="0" err="1">
                          <a:latin typeface="+mn-lt"/>
                          <a:cs typeface="Times New Roman" panose="02020603050405020304" pitchFamily="18" charset="0"/>
                        </a:rPr>
                        <a:t>Лактат</a:t>
                      </a:r>
                      <a:r>
                        <a:rPr lang="ru-RU" sz="2000" dirty="0">
                          <a:latin typeface="+mn-lt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,1[1,7;4,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[1,3;2,9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5,5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  <a:cs typeface="Times New Roman" panose="02020603050405020304" pitchFamily="18" charset="0"/>
                        </a:rPr>
                        <a:t>2,8[2,5;3,1]</a:t>
                      </a:r>
                      <a:endParaRPr lang="ru-RU" sz="2000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07918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51041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73FE1A-D81F-784D-90A9-A5DB61A8B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273410"/>
            <a:ext cx="10801200" cy="347278"/>
          </a:xfrm>
        </p:spPr>
        <p:txBody>
          <a:bodyPr/>
          <a:lstStyle/>
          <a:p>
            <a:r>
              <a:rPr lang="ru-RU" sz="3600" b="1" dirty="0">
                <a:solidFill>
                  <a:srgbClr val="6E0000"/>
                </a:solidFill>
              </a:rPr>
              <a:t>Основные итоги</a:t>
            </a:r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97DA2F09-4339-EF4B-87CD-ED4CAB38D0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8766409"/>
              </p:ext>
            </p:extLst>
          </p:nvPr>
        </p:nvGraphicFramePr>
        <p:xfrm>
          <a:off x="227349" y="762910"/>
          <a:ext cx="11737302" cy="58216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20579">
                  <a:extLst>
                    <a:ext uri="{9D8B030D-6E8A-4147-A177-3AD203B41FA5}">
                      <a16:colId xmlns:a16="http://schemas.microsoft.com/office/drawing/2014/main" val="1852094281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5930474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1547069567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883608538"/>
                    </a:ext>
                  </a:extLst>
                </a:gridCol>
                <a:gridCol w="1476163">
                  <a:extLst>
                    <a:ext uri="{9D8B030D-6E8A-4147-A177-3AD203B41FA5}">
                      <a16:colId xmlns:a16="http://schemas.microsoft.com/office/drawing/2014/main" val="3052789953"/>
                    </a:ext>
                  </a:extLst>
                </a:gridCol>
              </a:tblGrid>
              <a:tr h="406296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n-lt"/>
                        </a:rPr>
                        <a:t>Парамет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</a:rPr>
                        <a:t>CVVHD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>
                          <a:latin typeface="+mn-lt"/>
                        </a:rPr>
                        <a:t>CVVDH</a:t>
                      </a:r>
                      <a:endParaRPr lang="ru-RU" sz="2000" dirty="0">
                        <a:latin typeface="+mn-lt"/>
                      </a:endParaRPr>
                    </a:p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 +</a:t>
                      </a:r>
                      <a:r>
                        <a:rPr lang="en-US" sz="2000" dirty="0" err="1">
                          <a:latin typeface="+mn-lt"/>
                        </a:rPr>
                        <a:t>CytoSorb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err="1">
                          <a:latin typeface="+mn-lt"/>
                        </a:rPr>
                        <a:t>CVVDH+Emic</a:t>
                      </a:r>
                      <a:r>
                        <a:rPr lang="ru-RU" sz="2000" dirty="0">
                          <a:latin typeface="+mn-lt"/>
                        </a:rPr>
                        <a:t>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n-lt"/>
                        </a:rPr>
                        <a:t>Эфферон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82938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Длительность первой процедуры эфферентной </a:t>
                      </a:r>
                      <a:r>
                        <a:rPr lang="ru-RU" sz="20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детоксикации</a:t>
                      </a:r>
                      <a:endParaRPr lang="ru-RU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n-lt"/>
                        </a:rPr>
                        <a:t>36</a:t>
                      </a:r>
                      <a:r>
                        <a:rPr lang="en-US" sz="2000" dirty="0">
                          <a:latin typeface="+mn-lt"/>
                        </a:rPr>
                        <a:t>[19;53]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25[22;49]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45[21;62]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</a:rPr>
                        <a:t>12</a:t>
                      </a:r>
                      <a:r>
                        <a:rPr lang="en-US" sz="2000" dirty="0">
                          <a:latin typeface="+mn-lt"/>
                        </a:rPr>
                        <a:t>[1</a:t>
                      </a:r>
                      <a:r>
                        <a:rPr lang="ru-RU" sz="2000" dirty="0">
                          <a:latin typeface="+mn-lt"/>
                        </a:rPr>
                        <a:t>0</a:t>
                      </a:r>
                      <a:r>
                        <a:rPr lang="en-US" sz="2000" dirty="0">
                          <a:latin typeface="+mn-lt"/>
                        </a:rPr>
                        <a:t>;</a:t>
                      </a:r>
                      <a:r>
                        <a:rPr lang="ru-RU" sz="2000" dirty="0">
                          <a:latin typeface="+mn-lt"/>
                        </a:rPr>
                        <a:t>12</a:t>
                      </a:r>
                      <a:r>
                        <a:rPr lang="en-US" sz="2000" dirty="0">
                          <a:latin typeface="+mn-lt"/>
                        </a:rPr>
                        <a:t>]</a:t>
                      </a:r>
                      <a:endParaRPr lang="ru-RU" sz="2000" dirty="0">
                        <a:latin typeface="+mn-lt"/>
                      </a:endParaRPr>
                    </a:p>
                    <a:p>
                      <a:pPr algn="ctr"/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92139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  <a:cs typeface="Times New Roman" pitchFamily="18" charset="0"/>
                        </a:rPr>
                        <a:t>Длительность инвазивной</a:t>
                      </a:r>
                      <a:r>
                        <a:rPr lang="ru-RU" sz="2000" baseline="0" dirty="0">
                          <a:latin typeface="+mn-lt"/>
                          <a:cs typeface="Times New Roman" pitchFamily="18" charset="0"/>
                        </a:rPr>
                        <a:t> ИВЛ у пациентов, </a:t>
                      </a:r>
                      <a:r>
                        <a:rPr lang="ru-RU" sz="2000" dirty="0">
                          <a:latin typeface="+mn-lt"/>
                          <a:cs typeface="Times New Roman" pitchFamily="18" charset="0"/>
                        </a:rPr>
                        <a:t>которым проведена</a:t>
                      </a:r>
                      <a:r>
                        <a:rPr lang="ru-RU" sz="2000" baseline="0" dirty="0">
                          <a:latin typeface="+mn-lt"/>
                          <a:cs typeface="Times New Roman" pitchFamily="18" charset="0"/>
                        </a:rPr>
                        <a:t> одна или более процедур эфферентной </a:t>
                      </a:r>
                      <a:r>
                        <a:rPr lang="ru-RU" sz="2000" baseline="0" dirty="0" err="1">
                          <a:latin typeface="+mn-lt"/>
                          <a:cs typeface="Times New Roman" pitchFamily="18" charset="0"/>
                        </a:rPr>
                        <a:t>детоксикации</a:t>
                      </a:r>
                      <a:r>
                        <a:rPr lang="ru-RU" sz="2000" baseline="0" dirty="0">
                          <a:latin typeface="+mn-lt"/>
                          <a:cs typeface="Times New Roman" pitchFamily="18" charset="0"/>
                        </a:rPr>
                        <a:t>, час</a:t>
                      </a:r>
                      <a:endParaRPr lang="ru-RU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187[145;282]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196[57;322]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186[71;221]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</a:rPr>
                        <a:t>61</a:t>
                      </a:r>
                      <a:r>
                        <a:rPr lang="en-US" sz="2000" dirty="0">
                          <a:latin typeface="+mn-lt"/>
                        </a:rPr>
                        <a:t>[</a:t>
                      </a:r>
                      <a:r>
                        <a:rPr lang="ru-RU" sz="2000" dirty="0">
                          <a:latin typeface="+mn-lt"/>
                        </a:rPr>
                        <a:t>41</a:t>
                      </a:r>
                      <a:r>
                        <a:rPr lang="en-US" sz="2000" dirty="0">
                          <a:latin typeface="+mn-lt"/>
                        </a:rPr>
                        <a:t>;</a:t>
                      </a:r>
                      <a:r>
                        <a:rPr lang="ru-RU" sz="2000" dirty="0">
                          <a:latin typeface="+mn-lt"/>
                        </a:rPr>
                        <a:t>169</a:t>
                      </a:r>
                      <a:r>
                        <a:rPr lang="en-US" sz="2000" dirty="0">
                          <a:latin typeface="+mn-lt"/>
                        </a:rPr>
                        <a:t>]</a:t>
                      </a:r>
                      <a:endParaRPr lang="ru-RU" sz="2000" dirty="0">
                        <a:latin typeface="+mn-lt"/>
                      </a:endParaRPr>
                    </a:p>
                    <a:p>
                      <a:pPr algn="ctr"/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78774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  <a:cs typeface="Times New Roman" pitchFamily="18" charset="0"/>
                        </a:rPr>
                        <a:t>Длительность </a:t>
                      </a:r>
                      <a:r>
                        <a:rPr lang="ru-RU" sz="2000" dirty="0" err="1">
                          <a:latin typeface="+mn-lt"/>
                          <a:cs typeface="Times New Roman" pitchFamily="18" charset="0"/>
                        </a:rPr>
                        <a:t>НЕинвазивной</a:t>
                      </a:r>
                      <a:r>
                        <a:rPr lang="ru-RU" sz="2000" baseline="0" dirty="0">
                          <a:latin typeface="+mn-lt"/>
                          <a:cs typeface="Times New Roman" pitchFamily="18" charset="0"/>
                        </a:rPr>
                        <a:t> ИВЛ у пациентов, </a:t>
                      </a:r>
                      <a:r>
                        <a:rPr lang="ru-RU" sz="2000" dirty="0">
                          <a:latin typeface="+mn-lt"/>
                          <a:cs typeface="Times New Roman" pitchFamily="18" charset="0"/>
                        </a:rPr>
                        <a:t>которым проведена</a:t>
                      </a:r>
                      <a:r>
                        <a:rPr lang="ru-RU" sz="2000" baseline="0" dirty="0">
                          <a:latin typeface="+mn-lt"/>
                          <a:cs typeface="Times New Roman" pitchFamily="18" charset="0"/>
                        </a:rPr>
                        <a:t> одна или более процедур эфферентной </a:t>
                      </a:r>
                      <a:r>
                        <a:rPr lang="ru-RU" sz="2000" baseline="0" dirty="0" err="1">
                          <a:latin typeface="+mn-lt"/>
                          <a:cs typeface="Times New Roman" pitchFamily="18" charset="0"/>
                        </a:rPr>
                        <a:t>детоксикации</a:t>
                      </a:r>
                      <a:r>
                        <a:rPr lang="ru-RU" sz="2000" baseline="0" dirty="0">
                          <a:latin typeface="+mn-lt"/>
                          <a:cs typeface="Times New Roman" pitchFamily="18" charset="0"/>
                        </a:rPr>
                        <a:t>, час</a:t>
                      </a:r>
                      <a:endParaRPr lang="ru-RU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92[58;138]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156[57;191]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-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</a:rPr>
                        <a:t>194</a:t>
                      </a:r>
                      <a:r>
                        <a:rPr lang="en-US" sz="2000" dirty="0">
                          <a:latin typeface="+mn-lt"/>
                        </a:rPr>
                        <a:t>[</a:t>
                      </a:r>
                      <a:r>
                        <a:rPr lang="ru-RU" sz="2000" dirty="0">
                          <a:latin typeface="+mn-lt"/>
                        </a:rPr>
                        <a:t>81</a:t>
                      </a:r>
                      <a:r>
                        <a:rPr lang="en-US" sz="2000" dirty="0">
                          <a:latin typeface="+mn-lt"/>
                        </a:rPr>
                        <a:t>;</a:t>
                      </a:r>
                      <a:r>
                        <a:rPr lang="ru-RU" sz="2000" dirty="0">
                          <a:latin typeface="+mn-lt"/>
                        </a:rPr>
                        <a:t>641</a:t>
                      </a:r>
                      <a:r>
                        <a:rPr lang="en-US" sz="2000" dirty="0">
                          <a:latin typeface="+mn-lt"/>
                        </a:rPr>
                        <a:t>]</a:t>
                      </a:r>
                      <a:endParaRPr lang="ru-RU" sz="2000" dirty="0">
                        <a:latin typeface="+mn-lt"/>
                      </a:endParaRPr>
                    </a:p>
                    <a:p>
                      <a:pPr algn="ctr"/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97790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Количество койко-дней в отделениях реанимации у пациентов, которым проведена одна или более процедур эфферентной </a:t>
                      </a:r>
                      <a:r>
                        <a:rPr lang="ru-RU" sz="20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детоксикации</a:t>
                      </a:r>
                      <a:endParaRPr lang="ru-RU" sz="2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n-lt"/>
                        </a:rPr>
                        <a:t>9</a:t>
                      </a:r>
                      <a:r>
                        <a:rPr lang="en-US" sz="2000" dirty="0">
                          <a:latin typeface="+mn-lt"/>
                        </a:rPr>
                        <a:t>[7;12]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9[8;18]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+mn-lt"/>
                        </a:rPr>
                        <a:t>7[4;10]</a:t>
                      </a:r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n-lt"/>
                        </a:rPr>
                        <a:t>1</a:t>
                      </a:r>
                      <a:r>
                        <a:rPr lang="en-US" sz="2000" dirty="0">
                          <a:latin typeface="+mn-lt"/>
                        </a:rPr>
                        <a:t>4[</a:t>
                      </a:r>
                      <a:r>
                        <a:rPr lang="ru-RU" sz="2000" dirty="0">
                          <a:latin typeface="+mn-lt"/>
                        </a:rPr>
                        <a:t>7;1</a:t>
                      </a:r>
                      <a:r>
                        <a:rPr lang="en-US" sz="2000" dirty="0">
                          <a:latin typeface="+mn-lt"/>
                        </a:rPr>
                        <a:t>19]</a:t>
                      </a:r>
                      <a:endParaRPr lang="ru-RU" sz="2000" dirty="0">
                        <a:latin typeface="+mn-lt"/>
                      </a:endParaRPr>
                    </a:p>
                    <a:p>
                      <a:pPr algn="ctr"/>
                      <a:endParaRPr lang="ru-RU" sz="20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2512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Летальность,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77,8</a:t>
                      </a:r>
                      <a:endParaRPr lang="ru-RU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72,2</a:t>
                      </a:r>
                      <a:endParaRPr lang="ru-RU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96,6</a:t>
                      </a:r>
                      <a:endParaRPr lang="ru-RU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58,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9795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Абсолютные значения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74</a:t>
                      </a:r>
                      <a:endParaRPr lang="ru-RU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26</a:t>
                      </a:r>
                      <a:endParaRPr lang="ru-RU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kern="1200" dirty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29</a:t>
                      </a:r>
                      <a:endParaRPr lang="ru-RU" sz="2000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63019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328701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81200" y="274638"/>
            <a:ext cx="8229600" cy="634082"/>
          </a:xfrm>
        </p:spPr>
        <p:txBody>
          <a:bodyPr/>
          <a:lstStyle/>
          <a:p>
            <a:r>
              <a:rPr lang="ru-RU" sz="4000" b="1" dirty="0">
                <a:solidFill>
                  <a:srgbClr val="800000"/>
                </a:solidFill>
              </a:rPr>
              <a:t>Заключение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7368" y="929448"/>
            <a:ext cx="11305256" cy="5163848"/>
          </a:xfrm>
        </p:spPr>
        <p:txBody>
          <a:bodyPr/>
          <a:lstStyle/>
          <a:p>
            <a:r>
              <a:rPr lang="ru-RU" sz="2800" dirty="0"/>
              <a:t>Выживаемость пациентов с сепсисом и </a:t>
            </a:r>
            <a:r>
              <a:rPr lang="en-US" sz="2800" dirty="0"/>
              <a:t>COVID-19 </a:t>
            </a:r>
            <a:r>
              <a:rPr lang="ru-RU" sz="2800" dirty="0"/>
              <a:t>при использовании эфферентных методов </a:t>
            </a:r>
            <a:r>
              <a:rPr lang="ru-RU" sz="2800" dirty="0" err="1"/>
              <a:t>детоксикации</a:t>
            </a:r>
            <a:r>
              <a:rPr lang="ru-RU" sz="2800" dirty="0"/>
              <a:t> составила </a:t>
            </a:r>
            <a:r>
              <a:rPr lang="ru-RU" sz="2800" b="1" dirty="0"/>
              <a:t>24,8</a:t>
            </a:r>
            <a:r>
              <a:rPr lang="ru-RU" sz="2800" dirty="0"/>
              <a:t>%, из них при:</a:t>
            </a:r>
            <a:endParaRPr lang="en-US" sz="2800" dirty="0"/>
          </a:p>
          <a:p>
            <a:pPr marL="0" indent="0">
              <a:buNone/>
            </a:pPr>
            <a:r>
              <a:rPr lang="en-US" sz="2800" dirty="0"/>
              <a:t>- CVVHD</a:t>
            </a:r>
            <a:r>
              <a:rPr lang="ru-RU" sz="2800" dirty="0"/>
              <a:t> – </a:t>
            </a:r>
            <a:r>
              <a:rPr lang="en-US" sz="2800" dirty="0"/>
              <a:t>22,2%</a:t>
            </a:r>
            <a:endParaRPr lang="ru-RU" sz="2800" dirty="0"/>
          </a:p>
          <a:p>
            <a:pPr marL="0" indent="0" eaLnBrk="1" fontAlgn="auto" hangingPunct="1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ru-RU" sz="2800" dirty="0"/>
              <a:t>-</a:t>
            </a:r>
            <a:r>
              <a:rPr lang="en-US" sz="2800" dirty="0"/>
              <a:t> CVVHD + Cytosorb – 27,8%</a:t>
            </a:r>
            <a:endParaRPr lang="ru-RU" sz="2800" dirty="0"/>
          </a:p>
          <a:p>
            <a:pPr marL="0" indent="0">
              <a:buNone/>
            </a:pPr>
            <a:r>
              <a:rPr lang="ru-RU" sz="2800" dirty="0"/>
              <a:t>-</a:t>
            </a:r>
            <a:r>
              <a:rPr lang="en-US" sz="2800" dirty="0"/>
              <a:t> CVVHD + Emic2 – 4%</a:t>
            </a:r>
            <a:endParaRPr lang="ru-RU" sz="2800" dirty="0"/>
          </a:p>
          <a:p>
            <a:pPr marL="0" indent="0">
              <a:buNone/>
            </a:pPr>
            <a:r>
              <a:rPr lang="en-US" sz="2800" dirty="0"/>
              <a:t>- </a:t>
            </a:r>
            <a:r>
              <a:rPr lang="ru-RU" sz="2800" dirty="0"/>
              <a:t>Эфферон – 41,7%</a:t>
            </a:r>
          </a:p>
          <a:p>
            <a:r>
              <a:rPr lang="ru-RU" sz="2800" dirty="0"/>
              <a:t>Исследование имеет ограничения</a:t>
            </a:r>
            <a:r>
              <a:rPr lang="en-US" sz="2800" dirty="0"/>
              <a:t>.</a:t>
            </a:r>
          </a:p>
          <a:p>
            <a:r>
              <a:rPr lang="ru-RU" sz="2800" dirty="0"/>
              <a:t>Требуется проведения дальнейших исследований, в том числе многоцентровых</a:t>
            </a:r>
          </a:p>
          <a:p>
            <a:endParaRPr lang="ru-RU" sz="2400" dirty="0"/>
          </a:p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1467994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6"/>
          <p:cNvSpPr>
            <a:spLocks noChangeArrowheads="1"/>
          </p:cNvSpPr>
          <p:nvPr/>
        </p:nvSpPr>
        <p:spPr bwMode="auto">
          <a:xfrm>
            <a:off x="3184526" y="5254625"/>
            <a:ext cx="288541" cy="585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/>
          <a:p>
            <a:r>
              <a:rPr lang="ru-RU" sz="3200" b="1"/>
              <a:t> </a:t>
            </a:r>
            <a:endParaRPr lang="ru-RU" sz="3200" b="1">
              <a:solidFill>
                <a:srgbClr val="FF0066"/>
              </a:solidFill>
            </a:endParaRPr>
          </a:p>
        </p:txBody>
      </p:sp>
      <p:sp>
        <p:nvSpPr>
          <p:cNvPr id="40964" name="Прямоугольник 6"/>
          <p:cNvSpPr>
            <a:spLocks noChangeArrowheads="1"/>
          </p:cNvSpPr>
          <p:nvPr/>
        </p:nvSpPr>
        <p:spPr bwMode="auto">
          <a:xfrm>
            <a:off x="911424" y="1196752"/>
            <a:ext cx="5328592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</a:rPr>
              <a:t>Спасибо за внимание!!!</a:t>
            </a:r>
          </a:p>
          <a:p>
            <a:pPr algn="ctr"/>
            <a:r>
              <a:rPr lang="ru-RU" sz="3600" b="1" dirty="0">
                <a:solidFill>
                  <a:srgbClr val="C00000"/>
                </a:solidFill>
              </a:rPr>
              <a:t>Вопросы?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56843" y="2852936"/>
            <a:ext cx="40324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itsan67@mail.ru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6832B8E-3860-3C4B-8311-631F932FCE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0056" y="598456"/>
            <a:ext cx="4032448" cy="5909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1402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187D9E-9BDF-D74F-8BEE-031C7AFF2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723" y="260648"/>
            <a:ext cx="10972800" cy="778098"/>
          </a:xfrm>
        </p:spPr>
        <p:txBody>
          <a:bodyPr/>
          <a:lstStyle/>
          <a:p>
            <a:pPr algn="l"/>
            <a:r>
              <a:rPr lang="ru-RU" b="1" dirty="0">
                <a:solidFill>
                  <a:srgbClr val="C00000"/>
                </a:solidFill>
              </a:rPr>
              <a:t>Что говорит </a:t>
            </a:r>
            <a:r>
              <a:rPr lang="en-US" b="1" dirty="0">
                <a:solidFill>
                  <a:srgbClr val="C00000"/>
                </a:solidFill>
              </a:rPr>
              <a:t>PubMed?</a:t>
            </a:r>
            <a:endParaRPr lang="ru-RU" b="1" dirty="0">
              <a:solidFill>
                <a:srgbClr val="C00000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B77875A-C32A-7847-B143-3A394AF264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1268760"/>
            <a:ext cx="7776897" cy="474783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565F779-A705-C347-B3FE-7DE8A84238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6680" y="2342581"/>
            <a:ext cx="7955169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372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F55B3D9-6391-4373-9261-6A05E63DC3F2}"/>
              </a:ext>
            </a:extLst>
          </p:cNvPr>
          <p:cNvSpPr/>
          <p:nvPr/>
        </p:nvSpPr>
        <p:spPr>
          <a:xfrm>
            <a:off x="4734560" y="2295234"/>
            <a:ext cx="7213600" cy="4112701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A335EB3-369A-4D7C-A4AE-0A439A103BB9}"/>
              </a:ext>
            </a:extLst>
          </p:cNvPr>
          <p:cNvSpPr/>
          <p:nvPr/>
        </p:nvSpPr>
        <p:spPr>
          <a:xfrm>
            <a:off x="627166" y="1397876"/>
            <a:ext cx="3629524" cy="501006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822B3B0-E30F-4AAC-9D28-D8A52DB9D0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AE59B8-6F6B-4130-BA91-2049EA3DBB46}" type="slidenum">
              <a:rPr lang="ru-RU" smtClean="0"/>
              <a:t>3</a:t>
            </a:fld>
            <a:endParaRPr lang="ru-RU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3A3BAB4-2B6F-4CB6-9BED-8735DF38C9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600" dirty="0">
                <a:solidFill>
                  <a:srgbClr val="C00000"/>
                </a:solidFill>
              </a:rPr>
              <a:t>Методические рекомендации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F00BED-2920-41CF-B22F-78C83EE9E547}"/>
              </a:ext>
            </a:extLst>
          </p:cNvPr>
          <p:cNvSpPr txBox="1"/>
          <p:nvPr/>
        </p:nvSpPr>
        <p:spPr>
          <a:xfrm>
            <a:off x="4385244" y="1500794"/>
            <a:ext cx="23249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accent1">
                    <a:lumMod val="75000"/>
                  </a:schemeClr>
                </a:solidFill>
              </a:rPr>
              <a:t>0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</a:rPr>
              <a:t>7</a:t>
            </a: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</a:rPr>
              <a:t>.0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</a:rPr>
              <a:t>5</a:t>
            </a:r>
            <a:r>
              <a:rPr lang="ru-RU" sz="2800" b="1" dirty="0">
                <a:solidFill>
                  <a:schemeClr val="accent1">
                    <a:lumMod val="75000"/>
                  </a:schemeClr>
                </a:solidFill>
              </a:rPr>
              <a:t>.2021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FB71EE-E5F3-412E-9644-B7A13EBF183A}"/>
              </a:ext>
            </a:extLst>
          </p:cNvPr>
          <p:cNvSpPr txBox="1"/>
          <p:nvPr/>
        </p:nvSpPr>
        <p:spPr>
          <a:xfrm>
            <a:off x="5797685" y="4445540"/>
            <a:ext cx="15175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тр. 77 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27C502E-470A-4802-9D9B-9E8B655631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760" y="2397760"/>
            <a:ext cx="6846593" cy="2417112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BE462C5E-E6D2-4BA4-AB4F-72FC9811B794}"/>
              </a:ext>
            </a:extLst>
          </p:cNvPr>
          <p:cNvSpPr/>
          <p:nvPr/>
        </p:nvSpPr>
        <p:spPr>
          <a:xfrm>
            <a:off x="9932276" y="6407935"/>
            <a:ext cx="1852077" cy="36506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Стр.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83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A0AD128-AE46-4B1A-A3DB-B1F59969EDF7}"/>
              </a:ext>
            </a:extLst>
          </p:cNvPr>
          <p:cNvSpPr/>
          <p:nvPr/>
        </p:nvSpPr>
        <p:spPr>
          <a:xfrm>
            <a:off x="314325" y="6543675"/>
            <a:ext cx="2171700" cy="229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13E140E4-0751-4F84-AD9D-7782F53DD9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646" y="1531181"/>
            <a:ext cx="3386563" cy="474345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2329065-3055-44AD-9F32-2936342C36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760" y="5008881"/>
            <a:ext cx="6846593" cy="121686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50D8864-0267-47E8-A5CA-6FE223C1A89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0931" t="17959" r="28946" b="29792"/>
          <a:stretch/>
        </p:blipFill>
        <p:spPr>
          <a:xfrm>
            <a:off x="748647" y="1553939"/>
            <a:ext cx="3386562" cy="474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317991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4DCADC-A20E-D641-8D5C-6BF014FC2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836712"/>
            <a:ext cx="10972800" cy="778098"/>
          </a:xfrm>
        </p:spPr>
        <p:txBody>
          <a:bodyPr/>
          <a:lstStyle/>
          <a:p>
            <a:r>
              <a:rPr lang="ru-RU" b="1" dirty="0">
                <a:solidFill>
                  <a:srgbClr val="6E0000"/>
                </a:solidFill>
              </a:rPr>
              <a:t>Цель исследования: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DE6C384-5370-DA4F-898E-F0FE48DF72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988840"/>
            <a:ext cx="10972800" cy="2551014"/>
          </a:xfrm>
        </p:spPr>
        <p:txBody>
          <a:bodyPr/>
          <a:lstStyle/>
          <a:p>
            <a:r>
              <a:rPr lang="ru-RU" dirty="0"/>
              <a:t>Представить опыт применения  эфферентной </a:t>
            </a:r>
            <a:r>
              <a:rPr lang="ru-RU" dirty="0" err="1"/>
              <a:t>детоксикации</a:t>
            </a:r>
            <a:r>
              <a:rPr lang="ru-RU" dirty="0"/>
              <a:t> у пациентов с </a:t>
            </a:r>
            <a:r>
              <a:rPr lang="ru-RU" dirty="0">
                <a:latin typeface="Calibri" charset="0"/>
              </a:rPr>
              <a:t>сепсисом на фоне </a:t>
            </a:r>
            <a:r>
              <a:rPr lang="ru-RU" dirty="0" err="1">
                <a:latin typeface="Calibri" charset="0"/>
              </a:rPr>
              <a:t>коронавирусной</a:t>
            </a:r>
            <a:r>
              <a:rPr lang="ru-RU" dirty="0">
                <a:latin typeface="Calibri" charset="0"/>
              </a:rPr>
              <a:t> инфекции </a:t>
            </a:r>
            <a:r>
              <a:rPr lang="en-US" dirty="0">
                <a:latin typeface="Calibri" charset="0"/>
              </a:rPr>
              <a:t>COVID-19</a:t>
            </a:r>
            <a:r>
              <a:rPr lang="ru-RU" dirty="0">
                <a:latin typeface="Calibri" charset="0"/>
              </a:rPr>
              <a:t> за период с 01 апреля 2020 года по 30 августа 2021 го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5966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120646"/>
              </p:ext>
            </p:extLst>
          </p:nvPr>
        </p:nvGraphicFramePr>
        <p:xfrm>
          <a:off x="569386" y="1412776"/>
          <a:ext cx="11053228" cy="4422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793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048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497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19305">
                  <a:extLst>
                    <a:ext uri="{9D8B030D-6E8A-4147-A177-3AD203B41FA5}">
                      <a16:colId xmlns:a16="http://schemas.microsoft.com/office/drawing/2014/main" val="3235967434"/>
                    </a:ext>
                  </a:extLst>
                </a:gridCol>
              </a:tblGrid>
              <a:tr h="704618"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+mn-lt"/>
                          <a:cs typeface="Times New Roman" pitchFamily="18" charset="0"/>
                        </a:rPr>
                        <a:t>№ п/п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+mn-lt"/>
                          <a:cs typeface="Times New Roman" pitchFamily="18" charset="0"/>
                        </a:rPr>
                        <a:t>Процедур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+mn-lt"/>
                          <a:cs typeface="Times New Roman" pitchFamily="18" charset="0"/>
                        </a:rPr>
                        <a:t>абс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>
                          <a:latin typeface="+mn-lt"/>
                          <a:cs typeface="Times New Roman" pitchFamily="18" charset="0"/>
                        </a:rPr>
                        <a:t>%</a:t>
                      </a:r>
                    </a:p>
                    <a:p>
                      <a:pPr algn="l"/>
                      <a:endParaRPr lang="ru-RU" sz="240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+mn-lt"/>
                          <a:cs typeface="Times New Roman" pitchFamily="18" charset="0"/>
                        </a:rPr>
                        <a:t>1</a:t>
                      </a:r>
                      <a:endParaRPr lang="ru-RU" sz="240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+mn-lt"/>
                          <a:cs typeface="Times New Roman" pitchFamily="18" charset="0"/>
                        </a:rPr>
                        <a:t>CVVHD</a:t>
                      </a:r>
                      <a:r>
                        <a:rPr lang="en-US" sz="2400" baseline="0" dirty="0">
                          <a:latin typeface="+mn-lt"/>
                          <a:cs typeface="Times New Roman" pitchFamily="18" charset="0"/>
                        </a:rPr>
                        <a:t> (HDF)</a:t>
                      </a:r>
                      <a:endParaRPr lang="ru-RU" sz="240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+mn-lt"/>
                          <a:cs typeface="Times New Roman" pitchFamily="18" charset="0"/>
                        </a:rPr>
                        <a:t>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54,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+mn-lt"/>
                          <a:cs typeface="Times New Roman" pitchFamily="18" charset="0"/>
                        </a:rPr>
                        <a:t>2</a:t>
                      </a:r>
                      <a:endParaRPr lang="ru-RU" sz="240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latin typeface="+mn-lt"/>
                          <a:cs typeface="Times New Roman" pitchFamily="18" charset="0"/>
                        </a:rPr>
                        <a:t>HP-</a:t>
                      </a:r>
                      <a:r>
                        <a:rPr lang="en-US" sz="2400" dirty="0" err="1">
                          <a:latin typeface="+mn-lt"/>
                          <a:cs typeface="Times New Roman" pitchFamily="18" charset="0"/>
                        </a:rPr>
                        <a:t>CytoSorb</a:t>
                      </a:r>
                      <a:r>
                        <a:rPr lang="en-US" sz="2400" dirty="0">
                          <a:latin typeface="+mn-lt"/>
                          <a:cs typeface="Times New Roman" pitchFamily="18" charset="0"/>
                        </a:rPr>
                        <a:t> CVVHD</a:t>
                      </a:r>
                      <a:r>
                        <a:rPr lang="ru-RU" sz="2400" dirty="0">
                          <a:latin typeface="+mn-lt"/>
                          <a:cs typeface="Times New Roman" pitchFamily="18" charset="0"/>
                        </a:rPr>
                        <a:t>+</a:t>
                      </a:r>
                      <a:r>
                        <a:rPr lang="en-US" sz="2400" dirty="0" err="1">
                          <a:latin typeface="+mn-lt"/>
                          <a:cs typeface="Times New Roman" pitchFamily="18" charset="0"/>
                        </a:rPr>
                        <a:t>CytoSorb</a:t>
                      </a:r>
                      <a:endParaRPr lang="ru-RU" sz="240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latin typeface="+mn-lt"/>
                          <a:cs typeface="Times New Roman" pitchFamily="18" charset="0"/>
                        </a:rPr>
                        <a:t>36</a:t>
                      </a:r>
                      <a:endParaRPr lang="ru-RU" sz="240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20,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+mn-lt"/>
                          <a:cs typeface="Times New Roman" pitchFamily="18" charset="0"/>
                        </a:rPr>
                        <a:t>3</a:t>
                      </a:r>
                      <a:endParaRPr lang="ru-RU" sz="240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err="1">
                          <a:latin typeface="+mn-lt"/>
                          <a:cs typeface="Times New Roman" pitchFamily="18" charset="0"/>
                        </a:rPr>
                        <a:t>CVVHD+Emic</a:t>
                      </a:r>
                      <a:r>
                        <a:rPr lang="en-US" sz="2400" dirty="0">
                          <a:latin typeface="+mn-lt"/>
                          <a:cs typeface="Times New Roman" pitchFamily="18" charset="0"/>
                        </a:rPr>
                        <a:t> 2</a:t>
                      </a:r>
                      <a:endParaRPr lang="ru-RU" sz="240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>
                          <a:latin typeface="+mn-lt"/>
                          <a:cs typeface="Times New Roman" pitchFamily="18" charset="0"/>
                        </a:rPr>
                        <a:t>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17,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r>
                        <a:rPr lang="en-US" sz="2400" dirty="0">
                          <a:latin typeface="+mn-lt"/>
                          <a:cs typeface="Times New Roman" pitchFamily="18" charset="0"/>
                        </a:rPr>
                        <a:t>4</a:t>
                      </a:r>
                      <a:endParaRPr lang="ru-RU" sz="240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>
                          <a:latin typeface="+mn-lt"/>
                          <a:cs typeface="Times New Roman" pitchFamily="18" charset="0"/>
                        </a:rPr>
                        <a:t>Эфферон</a:t>
                      </a:r>
                      <a:r>
                        <a:rPr lang="ru-RU" sz="2400" baseline="0" dirty="0">
                          <a:latin typeface="+mn-lt"/>
                          <a:cs typeface="Times New Roman" pitchFamily="18" charset="0"/>
                        </a:rPr>
                        <a:t> ЦТ (5) /ЛПС (7)</a:t>
                      </a:r>
                      <a:endParaRPr lang="ru-RU" sz="240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>
                          <a:latin typeface="+mn-lt"/>
                          <a:cs typeface="Times New Roman" pitchFamily="18" charset="0"/>
                        </a:rPr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6,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l"/>
                      <a:endParaRPr lang="ru-RU" sz="240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b="1" dirty="0">
                          <a:latin typeface="+mn-lt"/>
                          <a:cs typeface="Times New Roman" pitchFamily="18" charset="0"/>
                        </a:rPr>
                        <a:t>ИТОГО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b="1" dirty="0">
                          <a:latin typeface="+mn-lt"/>
                          <a:cs typeface="Times New Roman" pitchFamily="18" charset="0"/>
                        </a:rPr>
                        <a:t>17</a:t>
                      </a:r>
                      <a:r>
                        <a:rPr lang="en-US" sz="2400" b="1" dirty="0">
                          <a:latin typeface="+mn-lt"/>
                          <a:cs typeface="Times New Roman" pitchFamily="18" charset="0"/>
                        </a:rPr>
                        <a:t>3</a:t>
                      </a:r>
                      <a:endParaRPr lang="ru-RU" sz="2400" b="1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100,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7496456"/>
                  </a:ext>
                </a:extLst>
              </a:tr>
            </a:tbl>
          </a:graphicData>
        </a:graphic>
      </p:graphicFrame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423961F-BB34-834E-97DF-7912AD249D7C}"/>
              </a:ext>
            </a:extLst>
          </p:cNvPr>
          <p:cNvSpPr txBox="1">
            <a:spLocks/>
          </p:cNvSpPr>
          <p:nvPr/>
        </p:nvSpPr>
        <p:spPr>
          <a:xfrm>
            <a:off x="731404" y="150434"/>
            <a:ext cx="10585176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rgbClr val="6E0000"/>
                </a:solidFill>
                <a:latin typeface="Times New Roman" pitchFamily="18" charset="0"/>
                <a:cs typeface="Times New Roman" pitchFamily="18" charset="0"/>
              </a:rPr>
              <a:t>Дизайн исследования </a:t>
            </a:r>
          </a:p>
        </p:txBody>
      </p:sp>
    </p:spTree>
    <p:extLst>
      <p:ext uri="{BB962C8B-B14F-4D97-AF65-F5344CB8AC3E}">
        <p14:creationId xmlns:p14="http://schemas.microsoft.com/office/powerpoint/2010/main" val="38719862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73FE1A-D81F-784D-90A9-A5DB61A8B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50106"/>
          </a:xfrm>
        </p:spPr>
        <p:txBody>
          <a:bodyPr/>
          <a:lstStyle/>
          <a:p>
            <a:r>
              <a:rPr lang="ru-RU" b="1" dirty="0">
                <a:solidFill>
                  <a:srgbClr val="6E0000"/>
                </a:solidFill>
              </a:rPr>
              <a:t>Характеристика пациентов</a:t>
            </a:r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97DA2F09-4339-EF4B-87CD-ED4CAB38D0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1415713"/>
              </p:ext>
            </p:extLst>
          </p:nvPr>
        </p:nvGraphicFramePr>
        <p:xfrm>
          <a:off x="335360" y="1087755"/>
          <a:ext cx="11521280" cy="5120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687445">
                  <a:extLst>
                    <a:ext uri="{9D8B030D-6E8A-4147-A177-3AD203B41FA5}">
                      <a16:colId xmlns:a16="http://schemas.microsoft.com/office/drawing/2014/main" val="1852094281"/>
                    </a:ext>
                  </a:extLst>
                </a:gridCol>
                <a:gridCol w="1700823">
                  <a:extLst>
                    <a:ext uri="{9D8B030D-6E8A-4147-A177-3AD203B41FA5}">
                      <a16:colId xmlns:a16="http://schemas.microsoft.com/office/drawing/2014/main" val="2883608538"/>
                    </a:ext>
                  </a:extLst>
                </a:gridCol>
                <a:gridCol w="1711004">
                  <a:extLst>
                    <a:ext uri="{9D8B030D-6E8A-4147-A177-3AD203B41FA5}">
                      <a16:colId xmlns:a16="http://schemas.microsoft.com/office/drawing/2014/main" val="1383993921"/>
                    </a:ext>
                  </a:extLst>
                </a:gridCol>
                <a:gridCol w="1711004">
                  <a:extLst>
                    <a:ext uri="{9D8B030D-6E8A-4147-A177-3AD203B41FA5}">
                      <a16:colId xmlns:a16="http://schemas.microsoft.com/office/drawing/2014/main" val="3985130518"/>
                    </a:ext>
                  </a:extLst>
                </a:gridCol>
                <a:gridCol w="1711004">
                  <a:extLst>
                    <a:ext uri="{9D8B030D-6E8A-4147-A177-3AD203B41FA5}">
                      <a16:colId xmlns:a16="http://schemas.microsoft.com/office/drawing/2014/main" val="3052789953"/>
                    </a:ext>
                  </a:extLst>
                </a:gridCol>
              </a:tblGrid>
              <a:tr h="40900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Парамет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CVVDH</a:t>
                      </a:r>
                      <a:endParaRPr lang="ru-RU" sz="2400" dirty="0"/>
                    </a:p>
                    <a:p>
                      <a:pPr algn="ctr"/>
                      <a:r>
                        <a:rPr lang="en-US" sz="2400" dirty="0"/>
                        <a:t>(n=95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CVVDH</a:t>
                      </a:r>
                      <a:endParaRPr lang="ru-RU" sz="2400" dirty="0"/>
                    </a:p>
                    <a:p>
                      <a:pPr algn="ctr"/>
                      <a:r>
                        <a:rPr lang="en-US" sz="2400" dirty="0"/>
                        <a:t> +Cytosorb</a:t>
                      </a:r>
                      <a:endParaRPr lang="ru-RU" sz="2400" dirty="0"/>
                    </a:p>
                    <a:p>
                      <a:pPr algn="ctr"/>
                      <a:r>
                        <a:rPr lang="en-US" sz="2400" dirty="0"/>
                        <a:t>(n=36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CVVDH +Emic2</a:t>
                      </a:r>
                      <a:endParaRPr lang="ru-RU" sz="2400" dirty="0"/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(n=30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Эфферон</a:t>
                      </a:r>
                      <a:r>
                        <a:rPr lang="en-US" sz="2400" dirty="0"/>
                        <a:t> </a:t>
                      </a:r>
                      <a:r>
                        <a:rPr lang="ru-RU" sz="2400" dirty="0"/>
                        <a:t>ЛПС </a:t>
                      </a:r>
                      <a:endParaRPr lang="en-US" sz="2400" dirty="0"/>
                    </a:p>
                    <a:p>
                      <a:pPr algn="ctr"/>
                      <a:r>
                        <a:rPr lang="en-US" sz="2400" dirty="0"/>
                        <a:t>(n=12)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82938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/>
                        <a:t>Возраст, лет, </a:t>
                      </a:r>
                      <a:r>
                        <a:rPr lang="en-US" sz="2400" dirty="0"/>
                        <a:t>Me, [Q1;Q3]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4</a:t>
                      </a:r>
                      <a:r>
                        <a:rPr lang="en-US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56;69]</a:t>
                      </a:r>
                      <a:endParaRPr lang="ru-RU" sz="2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4</a:t>
                      </a:r>
                      <a:r>
                        <a:rPr lang="en-US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51;59]</a:t>
                      </a:r>
                      <a:endParaRPr lang="ru-RU" sz="2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5</a:t>
                      </a:r>
                      <a:r>
                        <a:rPr lang="en-US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[59;66]</a:t>
                      </a:r>
                      <a:endParaRPr lang="ru-RU" sz="2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7[4</a:t>
                      </a:r>
                      <a:r>
                        <a:rPr lang="en-US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</a:t>
                      </a:r>
                      <a:r>
                        <a:rPr lang="ru-RU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;6</a:t>
                      </a:r>
                      <a:r>
                        <a:rPr lang="en-US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2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27877462"/>
                  </a:ext>
                </a:extLst>
              </a:tr>
              <a:tr h="409000">
                <a:tc>
                  <a:txBody>
                    <a:bodyPr/>
                    <a:lstStyle/>
                    <a:p>
                      <a:r>
                        <a:rPr lang="ru-RU" sz="2400" dirty="0"/>
                        <a:t>По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9779040"/>
                  </a:ext>
                </a:extLst>
              </a:tr>
              <a:tr h="409000">
                <a:tc>
                  <a:txBody>
                    <a:bodyPr/>
                    <a:lstStyle/>
                    <a:p>
                      <a:r>
                        <a:rPr lang="ru-RU" sz="2400" dirty="0"/>
                        <a:t>- муж</a:t>
                      </a:r>
                      <a:r>
                        <a:rPr lang="en-US" sz="2400" dirty="0"/>
                        <a:t>c</a:t>
                      </a:r>
                      <a:r>
                        <a:rPr lang="ru-RU" sz="2400" dirty="0"/>
                        <a:t>кой, абс (</a:t>
                      </a:r>
                      <a:r>
                        <a:rPr lang="ru-RU" sz="2400" dirty="0">
                          <a:sym typeface="Wingdings" pitchFamily="2" charset="2"/>
                        </a:rPr>
                        <a:t>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(61%)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(66,6%)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(63,3%)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7(58,3</a:t>
                      </a:r>
                      <a:r>
                        <a:rPr lang="ru-RU" sz="2400" dirty="0">
                          <a:sym typeface="Wingdings" pitchFamily="2" charset="2"/>
                        </a:rPr>
                        <a:t>%)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2512304"/>
                  </a:ext>
                </a:extLst>
              </a:tr>
              <a:tr h="409000">
                <a:tc>
                  <a:txBody>
                    <a:bodyPr/>
                    <a:lstStyle/>
                    <a:p>
                      <a:r>
                        <a:rPr lang="ru-RU" sz="2400" dirty="0"/>
                        <a:t>- женский, абс (</a:t>
                      </a:r>
                      <a:r>
                        <a:rPr lang="ru-RU" sz="2400" dirty="0">
                          <a:sym typeface="Wingdings" pitchFamily="2" charset="2"/>
                        </a:rPr>
                        <a:t>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37(38,9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2(33,3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1(36,6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5 (41,7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8752301"/>
                  </a:ext>
                </a:extLst>
              </a:tr>
              <a:tr h="10084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kern="1200" baseline="0" dirty="0">
                          <a:solidFill>
                            <a:srgbClr val="6E0000"/>
                          </a:solidFill>
                          <a:latin typeface="+mn-lt"/>
                          <a:ea typeface="+mn-ea"/>
                          <a:cs typeface="+mn-cs"/>
                        </a:rPr>
                        <a:t>Результат мазков на </a:t>
                      </a:r>
                      <a:r>
                        <a:rPr lang="en-US" sz="2400" kern="1200" baseline="0" dirty="0">
                          <a:solidFill>
                            <a:srgbClr val="6E0000"/>
                          </a:solidFill>
                          <a:latin typeface="+mn-lt"/>
                          <a:ea typeface="+mn-ea"/>
                          <a:cs typeface="+mn-cs"/>
                        </a:rPr>
                        <a:t>SARS-CoV2</a:t>
                      </a:r>
                      <a:r>
                        <a:rPr lang="ru-RU" sz="2400" kern="1200" baseline="0" dirty="0">
                          <a:solidFill>
                            <a:srgbClr val="6E0000"/>
                          </a:solidFill>
                          <a:latin typeface="+mn-lt"/>
                          <a:ea typeface="+mn-ea"/>
                          <a:cs typeface="+mn-cs"/>
                        </a:rPr>
                        <a:t> пациентам, которым проведена одна или более процедур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9181044"/>
                  </a:ext>
                </a:extLst>
              </a:tr>
              <a:tr h="409000">
                <a:tc>
                  <a:txBody>
                    <a:bodyPr/>
                    <a:lstStyle/>
                    <a:p>
                      <a:r>
                        <a:rPr lang="ru-RU" sz="2400" dirty="0"/>
                        <a:t>- Положительный, абс (</a:t>
                      </a:r>
                      <a:r>
                        <a:rPr lang="ru-RU" sz="2400" dirty="0">
                          <a:sym typeface="Wingdings" pitchFamily="2" charset="2"/>
                        </a:rPr>
                        <a:t>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72(75,7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9(52,7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28(93,3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12 (100,0</a:t>
                      </a:r>
                      <a:r>
                        <a:rPr lang="ru-RU" sz="2400" dirty="0">
                          <a:sym typeface="Wingdings" pitchFamily="2" charset="2"/>
                        </a:rPr>
                        <a:t>%)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979594"/>
                  </a:ext>
                </a:extLst>
              </a:tr>
              <a:tr h="409000">
                <a:tc>
                  <a:txBody>
                    <a:bodyPr/>
                    <a:lstStyle/>
                    <a:p>
                      <a:r>
                        <a:rPr lang="ru-RU" sz="2400" dirty="0"/>
                        <a:t>- Отрицательный, абс (</a:t>
                      </a:r>
                      <a:r>
                        <a:rPr lang="ru-RU" sz="2400" dirty="0">
                          <a:sym typeface="Wingdings" pitchFamily="2" charset="2"/>
                        </a:rPr>
                        <a:t>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23(24,2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17(47,2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2(6,6%)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63019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69332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45C4B6-E60C-794D-BB92-C2AACA64C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rgbClr val="C00000"/>
                </a:solidFill>
              </a:rPr>
              <a:t>Дизайн исследования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FE1F0AD-9309-2645-95C8-438F0A60A9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17639"/>
            <a:ext cx="11103024" cy="4708526"/>
          </a:xfrm>
        </p:spPr>
        <p:txBody>
          <a:bodyPr/>
          <a:lstStyle/>
          <a:p>
            <a:r>
              <a:rPr lang="ru-RU" dirty="0"/>
              <a:t>Оценка по шкалам </a:t>
            </a:r>
            <a:r>
              <a:rPr lang="en-US" dirty="0"/>
              <a:t>SAPS II, SOFA</a:t>
            </a:r>
            <a:endParaRPr lang="ru-RU" dirty="0"/>
          </a:p>
          <a:p>
            <a:r>
              <a:rPr lang="ru-RU" dirty="0"/>
              <a:t>Лабораторные показатели: СРБ, </a:t>
            </a:r>
            <a:r>
              <a:rPr lang="ru-RU" dirty="0" err="1"/>
              <a:t>креатинин</a:t>
            </a:r>
            <a:r>
              <a:rPr lang="ru-RU" dirty="0"/>
              <a:t>, Д-</a:t>
            </a:r>
            <a:r>
              <a:rPr lang="ru-RU" dirty="0" err="1"/>
              <a:t>димеры</a:t>
            </a:r>
            <a:r>
              <a:rPr lang="ru-RU" dirty="0"/>
              <a:t>, ПКТ, лейкоциты, п/я, </a:t>
            </a:r>
            <a:r>
              <a:rPr lang="ru-RU" dirty="0" err="1"/>
              <a:t>лактат</a:t>
            </a:r>
            <a:r>
              <a:rPr lang="ru-RU" dirty="0"/>
              <a:t>, тромбоциты</a:t>
            </a:r>
          </a:p>
          <a:p>
            <a:r>
              <a:rPr lang="ru-RU" dirty="0"/>
              <a:t>Длительность ИВЛ, длительность НВЛ, длительность ИТ в ОАР, летальность</a:t>
            </a:r>
          </a:p>
          <a:p>
            <a:r>
              <a:rPr lang="ru-RU" dirty="0"/>
              <a:t>Этапы исследования: перед первой процедурой, через 1, 3, 7, 14 суток от начала</a:t>
            </a:r>
          </a:p>
        </p:txBody>
      </p:sp>
    </p:spTree>
    <p:extLst>
      <p:ext uri="{BB962C8B-B14F-4D97-AF65-F5344CB8AC3E}">
        <p14:creationId xmlns:p14="http://schemas.microsoft.com/office/powerpoint/2010/main" val="31551579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63CA840-5CF3-C84D-97AC-94D00E0C7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6E0000"/>
                </a:solidFill>
              </a:rPr>
              <a:t>Результаты исследования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6BF4230-B0FD-B04F-A6E3-482769550E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520" y="1556792"/>
            <a:ext cx="8856984" cy="4649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749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73FE1A-D81F-784D-90A9-A5DB61A8B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76672"/>
            <a:ext cx="10972800" cy="690304"/>
          </a:xfrm>
        </p:spPr>
        <p:txBody>
          <a:bodyPr/>
          <a:lstStyle/>
          <a:p>
            <a:r>
              <a:rPr lang="ru-RU" b="1" dirty="0">
                <a:solidFill>
                  <a:srgbClr val="6E0000"/>
                </a:solidFill>
              </a:rPr>
              <a:t>Тяжесть пациентов </a:t>
            </a:r>
            <a:r>
              <a:rPr lang="en-US" b="1" dirty="0">
                <a:solidFill>
                  <a:srgbClr val="6E0000"/>
                </a:solidFill>
              </a:rPr>
              <a:t>SAPS II</a:t>
            </a:r>
            <a:r>
              <a:rPr lang="ru-RU" b="1" dirty="0">
                <a:solidFill>
                  <a:srgbClr val="6E0000"/>
                </a:solidFill>
              </a:rPr>
              <a:t>, </a:t>
            </a:r>
            <a:r>
              <a:rPr lang="en-US" b="1" dirty="0">
                <a:solidFill>
                  <a:srgbClr val="6E0000"/>
                </a:solidFill>
              </a:rPr>
              <a:t>Me, Q1;Q3</a:t>
            </a:r>
            <a:endParaRPr lang="ru-RU" b="1" dirty="0">
              <a:solidFill>
                <a:srgbClr val="6E0000"/>
              </a:solidFill>
            </a:endParaRPr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97DA2F09-4339-EF4B-87CD-ED4CAB38D0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666869"/>
              </p:ext>
            </p:extLst>
          </p:nvPr>
        </p:nvGraphicFramePr>
        <p:xfrm>
          <a:off x="335360" y="1484784"/>
          <a:ext cx="11521280" cy="432047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81334">
                  <a:extLst>
                    <a:ext uri="{9D8B030D-6E8A-4147-A177-3AD203B41FA5}">
                      <a16:colId xmlns:a16="http://schemas.microsoft.com/office/drawing/2014/main" val="1852094281"/>
                    </a:ext>
                  </a:extLst>
                </a:gridCol>
                <a:gridCol w="1480898">
                  <a:extLst>
                    <a:ext uri="{9D8B030D-6E8A-4147-A177-3AD203B41FA5}">
                      <a16:colId xmlns:a16="http://schemas.microsoft.com/office/drawing/2014/main" val="2883608538"/>
                    </a:ext>
                  </a:extLst>
                </a:gridCol>
                <a:gridCol w="1489762">
                  <a:extLst>
                    <a:ext uri="{9D8B030D-6E8A-4147-A177-3AD203B41FA5}">
                      <a16:colId xmlns:a16="http://schemas.microsoft.com/office/drawing/2014/main" val="1383993921"/>
                    </a:ext>
                  </a:extLst>
                </a:gridCol>
                <a:gridCol w="1489762">
                  <a:extLst>
                    <a:ext uri="{9D8B030D-6E8A-4147-A177-3AD203B41FA5}">
                      <a16:colId xmlns:a16="http://schemas.microsoft.com/office/drawing/2014/main" val="3985130518"/>
                    </a:ext>
                  </a:extLst>
                </a:gridCol>
                <a:gridCol w="1489762">
                  <a:extLst>
                    <a:ext uri="{9D8B030D-6E8A-4147-A177-3AD203B41FA5}">
                      <a16:colId xmlns:a16="http://schemas.microsoft.com/office/drawing/2014/main" val="1265208093"/>
                    </a:ext>
                  </a:extLst>
                </a:gridCol>
                <a:gridCol w="1489762">
                  <a:extLst>
                    <a:ext uri="{9D8B030D-6E8A-4147-A177-3AD203B41FA5}">
                      <a16:colId xmlns:a16="http://schemas.microsoft.com/office/drawing/2014/main" val="3052789953"/>
                    </a:ext>
                  </a:extLst>
                </a:gridCol>
              </a:tblGrid>
              <a:tr h="469617">
                <a:tc rowSpan="2"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+mn-lt"/>
                        </a:rPr>
                        <a:t>Параметры</a:t>
                      </a:r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/>
                        <a:t>Этапы исследования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5276549"/>
                  </a:ext>
                </a:extLst>
              </a:tr>
              <a:tr h="469617">
                <a:tc vMerge="1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Парамет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>
                          <a:latin typeface="+mn-lt"/>
                        </a:rPr>
                        <a:t>Перед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>
                          <a:latin typeface="+mn-lt"/>
                        </a:rPr>
                        <a:t> 1 </a:t>
                      </a:r>
                      <a:r>
                        <a:rPr lang="ru-RU" sz="2400" dirty="0" err="1">
                          <a:latin typeface="+mn-lt"/>
                        </a:rPr>
                        <a:t>сут</a:t>
                      </a:r>
                      <a:endParaRPr lang="ru-RU" sz="2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>
                          <a:latin typeface="+mn-lt"/>
                        </a:rPr>
                        <a:t>3 </a:t>
                      </a:r>
                      <a:r>
                        <a:rPr lang="ru-RU" sz="2400" dirty="0" err="1">
                          <a:latin typeface="+mn-lt"/>
                        </a:rPr>
                        <a:t>сут</a:t>
                      </a:r>
                      <a:endParaRPr lang="ru-RU" sz="2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>
                          <a:latin typeface="+mn-lt"/>
                        </a:rPr>
                        <a:t>7 </a:t>
                      </a:r>
                      <a:r>
                        <a:rPr lang="ru-RU" sz="2400" dirty="0" err="1">
                          <a:latin typeface="+mn-lt"/>
                        </a:rPr>
                        <a:t>сут</a:t>
                      </a:r>
                      <a:endParaRPr lang="ru-RU" sz="2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+mn-lt"/>
                        </a:rPr>
                        <a:t>14 </a:t>
                      </a:r>
                      <a:r>
                        <a:rPr lang="ru-RU" sz="2400" dirty="0" err="1">
                          <a:latin typeface="+mn-lt"/>
                        </a:rPr>
                        <a:t>сут</a:t>
                      </a:r>
                      <a:endParaRPr lang="ru-RU" sz="2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8293822"/>
                  </a:ext>
                </a:extLst>
              </a:tr>
              <a:tr h="8453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latin typeface="+mn-lt"/>
                        </a:rPr>
                        <a:t>CVVDH (n=95)</a:t>
                      </a:r>
                      <a:endParaRPr lang="ru-RU" sz="2400" dirty="0"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+mn-lt"/>
                        </a:rPr>
                        <a:t>7</a:t>
                      </a:r>
                      <a:r>
                        <a:rPr lang="en-US" sz="2400" u="none" strike="noStrike" dirty="0">
                          <a:effectLst/>
                          <a:latin typeface="+mn-lt"/>
                        </a:rPr>
                        <a:t>4[54;89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+mn-lt"/>
                        </a:rPr>
                        <a:t>6</a:t>
                      </a:r>
                      <a:r>
                        <a:rPr lang="en-US" sz="2400" u="none" strike="noStrike" dirty="0">
                          <a:effectLst/>
                          <a:latin typeface="+mn-lt"/>
                        </a:rPr>
                        <a:t>8[55;86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+mn-lt"/>
                        </a:rPr>
                        <a:t>81</a:t>
                      </a:r>
                      <a:r>
                        <a:rPr lang="en-US" sz="2400" u="none" strike="noStrike" dirty="0">
                          <a:effectLst/>
                          <a:latin typeface="+mn-lt"/>
                        </a:rPr>
                        <a:t>[62;89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+mn-lt"/>
                        </a:rPr>
                        <a:t>84</a:t>
                      </a:r>
                      <a:r>
                        <a:rPr lang="en-US" sz="2400" u="none" strike="noStrike" dirty="0">
                          <a:effectLst/>
                          <a:latin typeface="+mn-lt"/>
                        </a:rPr>
                        <a:t>[66;94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+mn-lt"/>
                        </a:rPr>
                        <a:t>56</a:t>
                      </a:r>
                      <a:r>
                        <a:rPr lang="en-US" sz="2400" u="none" strike="noStrike" dirty="0">
                          <a:effectLst/>
                          <a:latin typeface="+mn-lt"/>
                        </a:rPr>
                        <a:t>[48;65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27877462"/>
                  </a:ext>
                </a:extLst>
              </a:tr>
              <a:tr h="8453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err="1">
                          <a:latin typeface="+mn-lt"/>
                        </a:rPr>
                        <a:t>CVVDH+Cytosorb</a:t>
                      </a:r>
                      <a:r>
                        <a:rPr lang="en-US" sz="2400" dirty="0">
                          <a:latin typeface="+mn-lt"/>
                        </a:rPr>
                        <a:t> (n=36)</a:t>
                      </a:r>
                      <a:endParaRPr lang="ru-RU" sz="2400" dirty="0"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[19;47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[25;57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[24;56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9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[24;61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[18;46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49779040"/>
                  </a:ext>
                </a:extLst>
              </a:tr>
              <a:tr h="8453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>
                          <a:latin typeface="+mn-lt"/>
                        </a:rPr>
                        <a:t>CVVDH +Emic2 (n=30)</a:t>
                      </a:r>
                      <a:endParaRPr lang="ru-RU" sz="2400" dirty="0"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[81;86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,2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[65;99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[90;96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[54;99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7,0</a:t>
                      </a:r>
                      <a:r>
                        <a:rPr lang="en-US" sz="24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[7;7]</a:t>
                      </a:r>
                      <a:endParaRPr lang="ru-RU" sz="24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13849260"/>
                  </a:ext>
                </a:extLst>
              </a:tr>
              <a:tr h="8453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>
                          <a:latin typeface="+mn-lt"/>
                        </a:rPr>
                        <a:t>Эфферон</a:t>
                      </a:r>
                      <a:r>
                        <a:rPr lang="en-US" sz="2400" dirty="0">
                          <a:latin typeface="+mn-lt"/>
                        </a:rPr>
                        <a:t> </a:t>
                      </a:r>
                      <a:r>
                        <a:rPr lang="ru-RU" sz="2400" dirty="0">
                          <a:latin typeface="+mn-lt"/>
                        </a:rPr>
                        <a:t>ЛПС </a:t>
                      </a:r>
                      <a:r>
                        <a:rPr lang="en-US" sz="2400" dirty="0">
                          <a:latin typeface="+mn-lt"/>
                        </a:rPr>
                        <a:t>(n=12)</a:t>
                      </a:r>
                      <a:endParaRPr lang="ru-RU" sz="2400" dirty="0"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68 </a:t>
                      </a:r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[</a:t>
                      </a:r>
                      <a:r>
                        <a:rPr lang="ru-RU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58</a:t>
                      </a:r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;8</a:t>
                      </a:r>
                      <a:r>
                        <a:rPr lang="ru-RU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0</a:t>
                      </a:r>
                      <a:r>
                        <a:rPr lang="en-US" sz="2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]</a:t>
                      </a:r>
                      <a:endParaRPr lang="ru-RU" sz="2400" dirty="0"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[60;84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[67;91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[56;84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[37;42]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897293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81759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vfpd12T1iMrUJ2jT1Of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74</TotalTime>
  <Words>1321</Words>
  <Application>Microsoft Macintosh PowerPoint</Application>
  <PresentationFormat>Широкоэкранный</PresentationFormat>
  <Paragraphs>432</Paragraphs>
  <Slides>18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4" baseType="lpstr">
      <vt:lpstr>Arial</vt:lpstr>
      <vt:lpstr>Calibri</vt:lpstr>
      <vt:lpstr>Times New Roman</vt:lpstr>
      <vt:lpstr>Wingdings</vt:lpstr>
      <vt:lpstr>Тема Office</vt:lpstr>
      <vt:lpstr>think-cell Slide</vt:lpstr>
      <vt:lpstr>  Применение эфферентных методов детоксикации при сепсисе на фоне коронавирсусной инфекции COVID-19 </vt:lpstr>
      <vt:lpstr>Что говорит PubMed?</vt:lpstr>
      <vt:lpstr>Методические рекомендации </vt:lpstr>
      <vt:lpstr>Цель исследования:</vt:lpstr>
      <vt:lpstr>Презентация PowerPoint</vt:lpstr>
      <vt:lpstr>Характеристика пациентов</vt:lpstr>
      <vt:lpstr>Дизайн исследования</vt:lpstr>
      <vt:lpstr>Результаты исследования</vt:lpstr>
      <vt:lpstr>Тяжесть пациентов SAPS II, Me, Q1;Q3</vt:lpstr>
      <vt:lpstr>Тяжесть пациентов SOFA, Me, Q1;Q3</vt:lpstr>
      <vt:lpstr>Лабораторные показатели перед началом процедуры  эфферентной детоксикации (перед первой процедурой)</vt:lpstr>
      <vt:lpstr>Лабораторные показатели эфферентной детоксикации (1 сутки)</vt:lpstr>
      <vt:lpstr>Лабораторные показатели эфферентной детоксикации (3 сутки)</vt:lpstr>
      <vt:lpstr>Лабораторные показатели эфферентной детоксикации (7 сутки)</vt:lpstr>
      <vt:lpstr>Лабораторные показатели эфферентной детоксикации (14 сутки)</vt:lpstr>
      <vt:lpstr>Основные итоги</vt:lpstr>
      <vt:lpstr>Заключение </vt:lpstr>
      <vt:lpstr>Презентация PowerPoint</vt:lpstr>
    </vt:vector>
  </TitlesOfParts>
  <Company>КрайЗдрав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рафический мониторинг ИВЛ. Общие понятия. Роль графического мониторинга в оптимизации респираторной поддержки</dc:title>
  <dc:creator>Грицан</dc:creator>
  <cp:lastModifiedBy>Алексей Грицан</cp:lastModifiedBy>
  <cp:revision>1427</cp:revision>
  <cp:lastPrinted>2018-05-10T11:16:51Z</cp:lastPrinted>
  <dcterms:created xsi:type="dcterms:W3CDTF">2003-10-28T12:50:04Z</dcterms:created>
  <dcterms:modified xsi:type="dcterms:W3CDTF">2021-11-03T01:17:45Z</dcterms:modified>
</cp:coreProperties>
</file>